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lb" ContentType="model/gltf.binary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56" r:id="rId2"/>
    <p:sldId id="257" r:id="rId3"/>
    <p:sldId id="261" r:id="rId4"/>
    <p:sldId id="260" r:id="rId5"/>
    <p:sldId id="262" r:id="rId6"/>
    <p:sldId id="263" r:id="rId7"/>
    <p:sldId id="264" r:id="rId8"/>
    <p:sldId id="266" r:id="rId9"/>
  </p:sldIdLst>
  <p:sldSz cx="12192000" cy="6858000"/>
  <p:notesSz cx="6858000" cy="9144000"/>
  <p:custDataLst>
    <p:tags r:id="rId11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23A59"/>
    <a:srgbClr val="F2E2CE"/>
    <a:srgbClr val="4177A6"/>
    <a:srgbClr val="2C4A73"/>
    <a:srgbClr val="2CA473"/>
    <a:srgbClr val="3E3E40"/>
    <a:srgbClr val="324001"/>
    <a:srgbClr val="48EEC3"/>
    <a:srgbClr val="176159"/>
    <a:srgbClr val="8FF5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F040EC-27F9-4DAF-B797-E8C72594279B}" v="1" dt="2022-11-26T14:14:08.358"/>
    <p1510:client id="{92D6CCFE-B354-431A-B56F-EE9654EA6B92}" v="215" dt="2022-11-26T14:12:24.26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04" autoAdjust="0"/>
    <p:restoredTop sz="94660"/>
  </p:normalViewPr>
  <p:slideViewPr>
    <p:cSldViewPr snapToGrid="0">
      <p:cViewPr varScale="1">
        <p:scale>
          <a:sx n="81" d="100"/>
          <a:sy n="81" d="100"/>
        </p:scale>
        <p:origin x="744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ttore Minelli" userId="7870a1ad-01cf-4239-8cce-750deae7f4ef" providerId="ADAL" clId="{0FF040EC-27F9-4DAF-B797-E8C72594279B}"/>
    <pc:docChg chg="delSld">
      <pc:chgData name="Ettore Minelli" userId="7870a1ad-01cf-4239-8cce-750deae7f4ef" providerId="ADAL" clId="{0FF040EC-27F9-4DAF-B797-E8C72594279B}" dt="2022-11-26T14:14:09.041" v="0" actId="47"/>
      <pc:docMkLst>
        <pc:docMk/>
      </pc:docMkLst>
      <pc:sldChg chg="del">
        <pc:chgData name="Ettore Minelli" userId="7870a1ad-01cf-4239-8cce-750deae7f4ef" providerId="ADAL" clId="{0FF040EC-27F9-4DAF-B797-E8C72594279B}" dt="2022-11-26T14:14:09.041" v="0" actId="47"/>
        <pc:sldMkLst>
          <pc:docMk/>
          <pc:sldMk cId="1227350060" sldId="258"/>
        </pc:sldMkLst>
      </pc:sldChg>
      <pc:sldChg chg="del">
        <pc:chgData name="Ettore Minelli" userId="7870a1ad-01cf-4239-8cce-750deae7f4ef" providerId="ADAL" clId="{0FF040EC-27F9-4DAF-B797-E8C72594279B}" dt="2022-11-26T14:14:09.041" v="0" actId="47"/>
        <pc:sldMkLst>
          <pc:docMk/>
          <pc:sldMk cId="2222165479" sldId="259"/>
        </pc:sldMkLst>
      </pc:sldChg>
      <pc:sldChg chg="del">
        <pc:chgData name="Ettore Minelli" userId="7870a1ad-01cf-4239-8cce-750deae7f4ef" providerId="ADAL" clId="{0FF040EC-27F9-4DAF-B797-E8C72594279B}" dt="2022-11-26T14:14:09.041" v="0" actId="47"/>
        <pc:sldMkLst>
          <pc:docMk/>
          <pc:sldMk cId="4159522812" sldId="265"/>
        </pc:sldMkLst>
      </pc:sldChg>
    </pc:docChg>
  </pc:docChgLst>
  <pc:docChgLst>
    <pc:chgData name="Ettore Minelli" userId="7870a1ad-01cf-4239-8cce-750deae7f4ef" providerId="ADAL" clId="{92D6CCFE-B354-431A-B56F-EE9654EA6B92}"/>
    <pc:docChg chg="undo redo custSel addSld delSld modSld sldOrd modMainMaster replTag">
      <pc:chgData name="Ettore Minelli" userId="7870a1ad-01cf-4239-8cce-750deae7f4ef" providerId="ADAL" clId="{92D6CCFE-B354-431A-B56F-EE9654EA6B92}" dt="2022-11-26T14:12:51.631" v="4500" actId="1076"/>
      <pc:docMkLst>
        <pc:docMk/>
      </pc:docMkLst>
      <pc:sldChg chg="addSp delSp modSp new add mod">
        <pc:chgData name="Ettore Minelli" userId="7870a1ad-01cf-4239-8cce-750deae7f4ef" providerId="ADAL" clId="{92D6CCFE-B354-431A-B56F-EE9654EA6B92}" dt="2022-11-26T14:11:48.662" v="4493" actId="1076"/>
        <pc:sldMkLst>
          <pc:docMk/>
          <pc:sldMk cId="4120338540" sldId="256"/>
        </pc:sldMkLst>
        <pc:spChg chg="del">
          <ac:chgData name="Ettore Minelli" userId="7870a1ad-01cf-4239-8cce-750deae7f4ef" providerId="ADAL" clId="{92D6CCFE-B354-431A-B56F-EE9654EA6B92}" dt="2022-11-21T08:10:49.318" v="2" actId="478"/>
          <ac:spMkLst>
            <pc:docMk/>
            <pc:sldMk cId="4120338540" sldId="256"/>
            <ac:spMk id="2" creationId="{920AB07A-4FE3-4491-98D2-86288FA8CA7E}"/>
          </ac:spMkLst>
        </pc:spChg>
        <pc:spChg chg="del">
          <ac:chgData name="Ettore Minelli" userId="7870a1ad-01cf-4239-8cce-750deae7f4ef" providerId="ADAL" clId="{92D6CCFE-B354-431A-B56F-EE9654EA6B92}" dt="2022-11-21T08:10:52.044" v="76" actId="478"/>
          <ac:spMkLst>
            <pc:docMk/>
            <pc:sldMk cId="4120338540" sldId="256"/>
            <ac:spMk id="3" creationId="{E7C2E24B-E102-4D96-8A1F-72595FB2A3AA}"/>
          </ac:spMkLst>
        </pc:spChg>
        <pc:spChg chg="add mod ord">
          <ac:chgData name="Ettore Minelli" userId="7870a1ad-01cf-4239-8cce-750deae7f4ef" providerId="ADAL" clId="{92D6CCFE-B354-431A-B56F-EE9654EA6B92}" dt="2022-11-22T19:46:33.763" v="890" actId="207"/>
          <ac:spMkLst>
            <pc:docMk/>
            <pc:sldMk cId="4120338540" sldId="256"/>
            <ac:spMk id="5" creationId="{B5356F45-3B6A-4C01-B098-687217640885}"/>
          </ac:spMkLst>
        </pc:spChg>
        <pc:spChg chg="add mod">
          <ac:chgData name="Ettore Minelli" userId="7870a1ad-01cf-4239-8cce-750deae7f4ef" providerId="ADAL" clId="{92D6CCFE-B354-431A-B56F-EE9654EA6B92}" dt="2022-11-26T14:08:03.018" v="4413" actId="1076"/>
          <ac:spMkLst>
            <pc:docMk/>
            <pc:sldMk cId="4120338540" sldId="256"/>
            <ac:spMk id="6" creationId="{7787EE8E-A116-4A41-B454-16CA7F86027A}"/>
          </ac:spMkLst>
        </pc:spChg>
        <pc:spChg chg="add del mod">
          <ac:chgData name="Ettore Minelli" userId="7870a1ad-01cf-4239-8cce-750deae7f4ef" providerId="ADAL" clId="{92D6CCFE-B354-431A-B56F-EE9654EA6B92}" dt="2022-11-22T19:00:42.391" v="174" actId="478"/>
          <ac:spMkLst>
            <pc:docMk/>
            <pc:sldMk cId="4120338540" sldId="256"/>
            <ac:spMk id="6" creationId="{84743F8E-0CF7-4FC4-913F-8CEC601F4435}"/>
          </ac:spMkLst>
        </pc:spChg>
        <pc:spChg chg="add del mod">
          <ac:chgData name="Ettore Minelli" userId="7870a1ad-01cf-4239-8cce-750deae7f4ef" providerId="ADAL" clId="{92D6CCFE-B354-431A-B56F-EE9654EA6B92}" dt="2022-11-21T08:24:00.783" v="147" actId="478"/>
          <ac:spMkLst>
            <pc:docMk/>
            <pc:sldMk cId="4120338540" sldId="256"/>
            <ac:spMk id="6" creationId="{8669C2F3-EF75-427A-BC7E-60C820122B29}"/>
          </ac:spMkLst>
        </pc:spChg>
        <pc:spChg chg="add mod ord">
          <ac:chgData name="Ettore Minelli" userId="7870a1ad-01cf-4239-8cce-750deae7f4ef" providerId="ADAL" clId="{92D6CCFE-B354-431A-B56F-EE9654EA6B92}" dt="2022-11-23T11:02:42.229" v="1539" actId="2711"/>
          <ac:spMkLst>
            <pc:docMk/>
            <pc:sldMk cId="4120338540" sldId="256"/>
            <ac:spMk id="7" creationId="{545FA16E-9196-4C66-B602-E8DAD1AE22D7}"/>
          </ac:spMkLst>
        </pc:spChg>
        <pc:spChg chg="add mod ord">
          <ac:chgData name="Ettore Minelli" userId="7870a1ad-01cf-4239-8cce-750deae7f4ef" providerId="ADAL" clId="{92D6CCFE-B354-431A-B56F-EE9654EA6B92}" dt="2022-11-23T11:02:48.870" v="1540" actId="2711"/>
          <ac:spMkLst>
            <pc:docMk/>
            <pc:sldMk cId="4120338540" sldId="256"/>
            <ac:spMk id="8" creationId="{814A1F4F-C58D-4A2E-982D-E0FE0E9E8447}"/>
          </ac:spMkLst>
        </pc:spChg>
        <pc:spChg chg="add mod ord">
          <ac:chgData name="Ettore Minelli" userId="7870a1ad-01cf-4239-8cce-750deae7f4ef" providerId="ADAL" clId="{92D6CCFE-B354-431A-B56F-EE9654EA6B92}" dt="2022-11-23T11:02:48.870" v="1540" actId="2711"/>
          <ac:spMkLst>
            <pc:docMk/>
            <pc:sldMk cId="4120338540" sldId="256"/>
            <ac:spMk id="9" creationId="{38B14458-C0F1-4E24-816C-69BD2020C8E7}"/>
          </ac:spMkLst>
        </pc:spChg>
        <pc:spChg chg="add mod ord">
          <ac:chgData name="Ettore Minelli" userId="7870a1ad-01cf-4239-8cce-750deae7f4ef" providerId="ADAL" clId="{92D6CCFE-B354-431A-B56F-EE9654EA6B92}" dt="2022-11-26T14:03:30.539" v="4324" actId="14100"/>
          <ac:spMkLst>
            <pc:docMk/>
            <pc:sldMk cId="4120338540" sldId="256"/>
            <ac:spMk id="10" creationId="{D749960C-450C-479B-A06F-D1CDB0840395}"/>
          </ac:spMkLst>
        </pc:spChg>
        <pc:spChg chg="add del mod ord">
          <ac:chgData name="Ettore Minelli" userId="7870a1ad-01cf-4239-8cce-750deae7f4ef" providerId="ADAL" clId="{92D6CCFE-B354-431A-B56F-EE9654EA6B92}" dt="2022-11-22T19:30:02.832" v="722" actId="478"/>
          <ac:spMkLst>
            <pc:docMk/>
            <pc:sldMk cId="4120338540" sldId="256"/>
            <ac:spMk id="16" creationId="{50E3DCC3-4A80-4B97-BEA6-A06A83C0D280}"/>
          </ac:spMkLst>
        </pc:spChg>
        <pc:spChg chg="add mod">
          <ac:chgData name="Ettore Minelli" userId="7870a1ad-01cf-4239-8cce-750deae7f4ef" providerId="ADAL" clId="{92D6CCFE-B354-431A-B56F-EE9654EA6B92}" dt="2022-11-26T14:08:52.389" v="4457" actId="20577"/>
          <ac:spMkLst>
            <pc:docMk/>
            <pc:sldMk cId="4120338540" sldId="256"/>
            <ac:spMk id="16" creationId="{C2E50FF1-580A-4172-AD55-FFE8F27F41D1}"/>
          </ac:spMkLst>
        </pc:spChg>
        <pc:spChg chg="add del mod ord">
          <ac:chgData name="Ettore Minelli" userId="7870a1ad-01cf-4239-8cce-750deae7f4ef" providerId="ADAL" clId="{92D6CCFE-B354-431A-B56F-EE9654EA6B92}" dt="2022-11-22T19:30:31.396" v="761" actId="478"/>
          <ac:spMkLst>
            <pc:docMk/>
            <pc:sldMk cId="4120338540" sldId="256"/>
            <ac:spMk id="17" creationId="{75A04223-DED9-4426-9D79-05FB9526F8A5}"/>
          </ac:spMkLst>
        </pc:spChg>
        <pc:spChg chg="add mod">
          <ac:chgData name="Ettore Minelli" userId="7870a1ad-01cf-4239-8cce-750deae7f4ef" providerId="ADAL" clId="{92D6CCFE-B354-431A-B56F-EE9654EA6B92}" dt="2022-11-26T14:03:30.539" v="4324" actId="14100"/>
          <ac:spMkLst>
            <pc:docMk/>
            <pc:sldMk cId="4120338540" sldId="256"/>
            <ac:spMk id="18" creationId="{1CAFA9BF-B88A-48D3-BE13-6E303979B982}"/>
          </ac:spMkLst>
        </pc:spChg>
        <pc:spChg chg="add del mod">
          <ac:chgData name="Ettore Minelli" userId="7870a1ad-01cf-4239-8cce-750deae7f4ef" providerId="ADAL" clId="{92D6CCFE-B354-431A-B56F-EE9654EA6B92}" dt="2022-11-26T14:06:21.169" v="4404" actId="478"/>
          <ac:spMkLst>
            <pc:docMk/>
            <pc:sldMk cId="4120338540" sldId="256"/>
            <ac:spMk id="19" creationId="{8E4A37D5-7657-4569-9717-CC7B4E0BE4F8}"/>
          </ac:spMkLst>
        </pc:spChg>
        <pc:spChg chg="add mod">
          <ac:chgData name="Ettore Minelli" userId="7870a1ad-01cf-4239-8cce-750deae7f4ef" providerId="ADAL" clId="{92D6CCFE-B354-431A-B56F-EE9654EA6B92}" dt="2022-11-26T14:09:23.028" v="4478"/>
          <ac:spMkLst>
            <pc:docMk/>
            <pc:sldMk cId="4120338540" sldId="256"/>
            <ac:spMk id="21" creationId="{D187E910-9634-4A28-857E-EC4B9CDD1DC6}"/>
          </ac:spMkLst>
        </pc:spChg>
        <pc:spChg chg="add mod">
          <ac:chgData name="Ettore Minelli" userId="7870a1ad-01cf-4239-8cce-750deae7f4ef" providerId="ADAL" clId="{92D6CCFE-B354-431A-B56F-EE9654EA6B92}" dt="2022-11-26T14:03:30.539" v="4324" actId="14100"/>
          <ac:spMkLst>
            <pc:docMk/>
            <pc:sldMk cId="4120338540" sldId="256"/>
            <ac:spMk id="23" creationId="{547A4429-CF71-42E3-8F7B-089938594B99}"/>
          </ac:spMkLst>
        </pc:spChg>
        <pc:graphicFrameChg chg="add mod ord modVis replST">
          <ac:chgData name="Ettore Minelli" userId="7870a1ad-01cf-4239-8cce-750deae7f4ef" providerId="ADAL" clId="{92D6CCFE-B354-431A-B56F-EE9654EA6B92}" dt="2022-11-22T19:30:11.678" v="757"/>
          <ac:graphicFrameMkLst>
            <pc:docMk/>
            <pc:sldMk cId="4120338540" sldId="256"/>
            <ac:graphicFrameMk id="4" creationId="{C5BB466E-31F0-4F06-B874-1C7B729BC687}"/>
          </ac:graphicFrameMkLst>
        </pc:graphicFrameChg>
        <pc:graphicFrameChg chg="add del mod modGraphic">
          <ac:chgData name="Ettore Minelli" userId="7870a1ad-01cf-4239-8cce-750deae7f4ef" providerId="ADAL" clId="{92D6CCFE-B354-431A-B56F-EE9654EA6B92}" dt="2022-11-22T19:27:16.222" v="605" actId="478"/>
          <ac:graphicFrameMkLst>
            <pc:docMk/>
            <pc:sldMk cId="4120338540" sldId="256"/>
            <ac:graphicFrameMk id="13" creationId="{98EFDD52-25F6-4D86-B6C0-91CE1FF3C413}"/>
          </ac:graphicFrameMkLst>
        </pc:graphicFrameChg>
        <pc:picChg chg="add mod">
          <ac:chgData name="Ettore Minelli" userId="7870a1ad-01cf-4239-8cce-750deae7f4ef" providerId="ADAL" clId="{92D6CCFE-B354-431A-B56F-EE9654EA6B92}" dt="2022-11-26T14:08:03.018" v="4413" actId="1076"/>
          <ac:picMkLst>
            <pc:docMk/>
            <pc:sldMk cId="4120338540" sldId="256"/>
            <ac:picMk id="3" creationId="{E1AE147F-89B6-476F-A1CD-692750AFA6E5}"/>
          </ac:picMkLst>
        </pc:picChg>
        <pc:picChg chg="add del mod">
          <ac:chgData name="Ettore Minelli" userId="7870a1ad-01cf-4239-8cce-750deae7f4ef" providerId="ADAL" clId="{92D6CCFE-B354-431A-B56F-EE9654EA6B92}" dt="2022-11-22T18:56:39.479" v="158" actId="478"/>
          <ac:picMkLst>
            <pc:docMk/>
            <pc:sldMk cId="4120338540" sldId="256"/>
            <ac:picMk id="3" creationId="{E26CD2ED-73E0-4A40-B13D-A048D49E2202}"/>
          </ac:picMkLst>
        </pc:picChg>
        <pc:picChg chg="add mod modCrop">
          <ac:chgData name="Ettore Minelli" userId="7870a1ad-01cf-4239-8cce-750deae7f4ef" providerId="ADAL" clId="{92D6CCFE-B354-431A-B56F-EE9654EA6B92}" dt="2022-11-26T14:10:02.909" v="4484" actId="1076"/>
          <ac:picMkLst>
            <pc:docMk/>
            <pc:sldMk cId="4120338540" sldId="256"/>
            <ac:picMk id="12" creationId="{58860910-CC28-4C86-A3A9-65A1288CBC49}"/>
          </ac:picMkLst>
        </pc:picChg>
        <pc:picChg chg="add del mod">
          <ac:chgData name="Ettore Minelli" userId="7870a1ad-01cf-4239-8cce-750deae7f4ef" providerId="ADAL" clId="{92D6CCFE-B354-431A-B56F-EE9654EA6B92}" dt="2022-11-26T14:09:44.508" v="4479" actId="478"/>
          <ac:picMkLst>
            <pc:docMk/>
            <pc:sldMk cId="4120338540" sldId="256"/>
            <ac:picMk id="14" creationId="{3FE9370B-7CDC-4126-9C0F-C68C94B9AE1B}"/>
          </ac:picMkLst>
        </pc:picChg>
        <pc:picChg chg="add mod ord modCrop">
          <ac:chgData name="Ettore Minelli" userId="7870a1ad-01cf-4239-8cce-750deae7f4ef" providerId="ADAL" clId="{92D6CCFE-B354-431A-B56F-EE9654EA6B92}" dt="2022-11-26T14:03:30.539" v="4324" actId="14100"/>
          <ac:picMkLst>
            <pc:docMk/>
            <pc:sldMk cId="4120338540" sldId="256"/>
            <ac:picMk id="15" creationId="{0F4E060D-5456-4431-9F60-11A4169859B3}"/>
          </ac:picMkLst>
        </pc:picChg>
        <pc:picChg chg="add del mod">
          <ac:chgData name="Ettore Minelli" userId="7870a1ad-01cf-4239-8cce-750deae7f4ef" providerId="ADAL" clId="{92D6CCFE-B354-431A-B56F-EE9654EA6B92}" dt="2022-11-26T14:06:21.169" v="4404" actId="478"/>
          <ac:picMkLst>
            <pc:docMk/>
            <pc:sldMk cId="4120338540" sldId="256"/>
            <ac:picMk id="17" creationId="{0CDD2701-9E5C-4884-92BD-5B260763A089}"/>
          </ac:picMkLst>
        </pc:picChg>
        <pc:picChg chg="add del mod">
          <ac:chgData name="Ettore Minelli" userId="7870a1ad-01cf-4239-8cce-750deae7f4ef" providerId="ADAL" clId="{92D6CCFE-B354-431A-B56F-EE9654EA6B92}" dt="2022-11-26T14:10:05.916" v="4485" actId="478"/>
          <ac:picMkLst>
            <pc:docMk/>
            <pc:sldMk cId="4120338540" sldId="256"/>
            <ac:picMk id="20" creationId="{2C232A3C-E6F6-470D-985B-260BC550952A}"/>
          </ac:picMkLst>
        </pc:picChg>
        <pc:picChg chg="add del mod">
          <ac:chgData name="Ettore Minelli" userId="7870a1ad-01cf-4239-8cce-750deae7f4ef" providerId="ADAL" clId="{92D6CCFE-B354-431A-B56F-EE9654EA6B92}" dt="2022-11-22T19:37:09.234" v="790" actId="478"/>
          <ac:picMkLst>
            <pc:docMk/>
            <pc:sldMk cId="4120338540" sldId="256"/>
            <ac:picMk id="20" creationId="{8B0CD26A-CA3C-4BF8-A3DC-6C0D4E59A6BF}"/>
          </ac:picMkLst>
        </pc:picChg>
        <pc:picChg chg="add del mod">
          <ac:chgData name="Ettore Minelli" userId="7870a1ad-01cf-4239-8cce-750deae7f4ef" providerId="ADAL" clId="{92D6CCFE-B354-431A-B56F-EE9654EA6B92}" dt="2022-11-22T19:38:24.624" v="799" actId="478"/>
          <ac:picMkLst>
            <pc:docMk/>
            <pc:sldMk cId="4120338540" sldId="256"/>
            <ac:picMk id="22" creationId="{87689240-24EB-4B04-91A6-045B91197A81}"/>
          </ac:picMkLst>
        </pc:picChg>
        <pc:picChg chg="add del">
          <ac:chgData name="Ettore Minelli" userId="7870a1ad-01cf-4239-8cce-750deae7f4ef" providerId="ADAL" clId="{92D6CCFE-B354-431A-B56F-EE9654EA6B92}" dt="2022-11-26T14:10:59.335" v="4488" actId="478"/>
          <ac:picMkLst>
            <pc:docMk/>
            <pc:sldMk cId="4120338540" sldId="256"/>
            <ac:picMk id="22" creationId="{ADE9B05A-6492-472A-89AA-50A28297B924}"/>
          </ac:picMkLst>
        </pc:picChg>
        <pc:picChg chg="add mod modCrop">
          <ac:chgData name="Ettore Minelli" userId="7870a1ad-01cf-4239-8cce-750deae7f4ef" providerId="ADAL" clId="{92D6CCFE-B354-431A-B56F-EE9654EA6B92}" dt="2022-11-26T14:11:48.662" v="4493" actId="1076"/>
          <ac:picMkLst>
            <pc:docMk/>
            <pc:sldMk cId="4120338540" sldId="256"/>
            <ac:picMk id="25" creationId="{A23A699F-18EF-4D1E-BA1D-D282F56A5B5A}"/>
          </ac:picMkLst>
        </pc:picChg>
      </pc:sldChg>
      <pc:sldChg chg="addSp delSp modSp add mod ord">
        <pc:chgData name="Ettore Minelli" userId="7870a1ad-01cf-4239-8cce-750deae7f4ef" providerId="ADAL" clId="{92D6CCFE-B354-431A-B56F-EE9654EA6B92}" dt="2022-11-26T13:26:46.837" v="3890"/>
        <pc:sldMkLst>
          <pc:docMk/>
          <pc:sldMk cId="1478123753" sldId="257"/>
        </pc:sldMkLst>
        <pc:spChg chg="add del mod">
          <ac:chgData name="Ettore Minelli" userId="7870a1ad-01cf-4239-8cce-750deae7f4ef" providerId="ADAL" clId="{92D6CCFE-B354-431A-B56F-EE9654EA6B92}" dt="2022-11-23T10:55:55.809" v="1519" actId="478"/>
          <ac:spMkLst>
            <pc:docMk/>
            <pc:sldMk cId="1478123753" sldId="257"/>
            <ac:spMk id="2" creationId="{A18CBBA7-928E-40F2-9C36-504C3A436458}"/>
          </ac:spMkLst>
        </pc:spChg>
        <pc:spChg chg="add del mod ord">
          <ac:chgData name="Ettore Minelli" userId="7870a1ad-01cf-4239-8cce-750deae7f4ef" providerId="ADAL" clId="{92D6CCFE-B354-431A-B56F-EE9654EA6B92}" dt="2022-11-26T10:05:29.320" v="2776" actId="478"/>
          <ac:spMkLst>
            <pc:docMk/>
            <pc:sldMk cId="1478123753" sldId="257"/>
            <ac:spMk id="3" creationId="{E6F1312B-8891-48DD-98C2-16B4CE92C941}"/>
          </ac:spMkLst>
        </pc:spChg>
        <pc:spChg chg="mod ord">
          <ac:chgData name="Ettore Minelli" userId="7870a1ad-01cf-4239-8cce-750deae7f4ef" providerId="ADAL" clId="{92D6CCFE-B354-431A-B56F-EE9654EA6B92}" dt="2022-11-23T11:15:06.565" v="1592"/>
          <ac:spMkLst>
            <pc:docMk/>
            <pc:sldMk cId="1478123753" sldId="257"/>
            <ac:spMk id="5" creationId="{B5356F45-3B6A-4C01-B098-687217640885}"/>
          </ac:spMkLst>
        </pc:spChg>
        <pc:spChg chg="mod ord">
          <ac:chgData name="Ettore Minelli" userId="7870a1ad-01cf-4239-8cce-750deae7f4ef" providerId="ADAL" clId="{92D6CCFE-B354-431A-B56F-EE9654EA6B92}" dt="2022-11-23T11:15:06.565" v="1594"/>
          <ac:spMkLst>
            <pc:docMk/>
            <pc:sldMk cId="1478123753" sldId="257"/>
            <ac:spMk id="7" creationId="{545FA16E-9196-4C66-B602-E8DAD1AE22D7}"/>
          </ac:spMkLst>
        </pc:spChg>
        <pc:spChg chg="mod ord">
          <ac:chgData name="Ettore Minelli" userId="7870a1ad-01cf-4239-8cce-750deae7f4ef" providerId="ADAL" clId="{92D6CCFE-B354-431A-B56F-EE9654EA6B92}" dt="2022-11-23T11:15:06.565" v="1596"/>
          <ac:spMkLst>
            <pc:docMk/>
            <pc:sldMk cId="1478123753" sldId="257"/>
            <ac:spMk id="8" creationId="{814A1F4F-C58D-4A2E-982D-E0FE0E9E8447}"/>
          </ac:spMkLst>
        </pc:spChg>
        <pc:spChg chg="mod ord">
          <ac:chgData name="Ettore Minelli" userId="7870a1ad-01cf-4239-8cce-750deae7f4ef" providerId="ADAL" clId="{92D6CCFE-B354-431A-B56F-EE9654EA6B92}" dt="2022-11-23T11:15:06.565" v="1600"/>
          <ac:spMkLst>
            <pc:docMk/>
            <pc:sldMk cId="1478123753" sldId="257"/>
            <ac:spMk id="9" creationId="{38B14458-C0F1-4E24-816C-69BD2020C8E7}"/>
          </ac:spMkLst>
        </pc:spChg>
        <pc:spChg chg="add del mod topLvl">
          <ac:chgData name="Ettore Minelli" userId="7870a1ad-01cf-4239-8cce-750deae7f4ef" providerId="ADAL" clId="{92D6CCFE-B354-431A-B56F-EE9654EA6B92}" dt="2022-11-26T10:05:32.145" v="2777" actId="478"/>
          <ac:spMkLst>
            <pc:docMk/>
            <pc:sldMk cId="1478123753" sldId="257"/>
            <ac:spMk id="10" creationId="{528C0B1E-46C8-4CA6-AA19-0A4134D27F72}"/>
          </ac:spMkLst>
        </pc:spChg>
        <pc:spChg chg="del">
          <ac:chgData name="Ettore Minelli" userId="7870a1ad-01cf-4239-8cce-750deae7f4ef" providerId="ADAL" clId="{92D6CCFE-B354-431A-B56F-EE9654EA6B92}" dt="2022-11-22T19:48:56.518" v="947" actId="478"/>
          <ac:spMkLst>
            <pc:docMk/>
            <pc:sldMk cId="1478123753" sldId="257"/>
            <ac:spMk id="10" creationId="{D749960C-450C-479B-A06F-D1CDB0840395}"/>
          </ac:spMkLst>
        </pc:spChg>
        <pc:spChg chg="add del mod topLvl">
          <ac:chgData name="Ettore Minelli" userId="7870a1ad-01cf-4239-8cce-750deae7f4ef" providerId="ADAL" clId="{92D6CCFE-B354-431A-B56F-EE9654EA6B92}" dt="2022-11-26T10:05:32.145" v="2777" actId="478"/>
          <ac:spMkLst>
            <pc:docMk/>
            <pc:sldMk cId="1478123753" sldId="257"/>
            <ac:spMk id="11" creationId="{FD2DF2A0-C0E6-4BB3-8E93-4DEB44C91AA2}"/>
          </ac:spMkLst>
        </pc:spChg>
        <pc:spChg chg="add del mod">
          <ac:chgData name="Ettore Minelli" userId="7870a1ad-01cf-4239-8cce-750deae7f4ef" providerId="ADAL" clId="{92D6CCFE-B354-431A-B56F-EE9654EA6B92}" dt="2022-11-23T10:54:36.429" v="1510" actId="478"/>
          <ac:spMkLst>
            <pc:docMk/>
            <pc:sldMk cId="1478123753" sldId="257"/>
            <ac:spMk id="14" creationId="{DC8DFCCA-5C1A-498C-8729-9E9F4F62BA7D}"/>
          </ac:spMkLst>
        </pc:spChg>
        <pc:spChg chg="add mod ord">
          <ac:chgData name="Ettore Minelli" userId="7870a1ad-01cf-4239-8cce-750deae7f4ef" providerId="ADAL" clId="{92D6CCFE-B354-431A-B56F-EE9654EA6B92}" dt="2022-11-26T10:06:00.040" v="2812" actId="20577"/>
          <ac:spMkLst>
            <pc:docMk/>
            <pc:sldMk cId="1478123753" sldId="257"/>
            <ac:spMk id="15" creationId="{B7451947-7F4E-4A85-9685-23A16CBD9C8F}"/>
          </ac:spMkLst>
        </pc:spChg>
        <pc:spChg chg="add del mod">
          <ac:chgData name="Ettore Minelli" userId="7870a1ad-01cf-4239-8cce-750deae7f4ef" providerId="ADAL" clId="{92D6CCFE-B354-431A-B56F-EE9654EA6B92}" dt="2022-11-23T10:54:37.824" v="1511" actId="478"/>
          <ac:spMkLst>
            <pc:docMk/>
            <pc:sldMk cId="1478123753" sldId="257"/>
            <ac:spMk id="16" creationId="{4F2C5C14-6CDF-45D6-BF9F-2CF61300A0A5}"/>
          </ac:spMkLst>
        </pc:spChg>
        <pc:spChg chg="add del mod">
          <ac:chgData name="Ettore Minelli" userId="7870a1ad-01cf-4239-8cce-750deae7f4ef" providerId="ADAL" clId="{92D6CCFE-B354-431A-B56F-EE9654EA6B92}" dt="2022-11-26T10:05:32.145" v="2777" actId="478"/>
          <ac:spMkLst>
            <pc:docMk/>
            <pc:sldMk cId="1478123753" sldId="257"/>
            <ac:spMk id="17" creationId="{78965A04-2F92-4E44-8399-8961379CDA59}"/>
          </ac:spMkLst>
        </pc:spChg>
        <pc:spChg chg="add del mod">
          <ac:chgData name="Ettore Minelli" userId="7870a1ad-01cf-4239-8cce-750deae7f4ef" providerId="ADAL" clId="{92D6CCFE-B354-431A-B56F-EE9654EA6B92}" dt="2022-11-22T19:52:17.110" v="1279" actId="478"/>
          <ac:spMkLst>
            <pc:docMk/>
            <pc:sldMk cId="1478123753" sldId="257"/>
            <ac:spMk id="17" creationId="{BABDEE62-AB11-4176-BD89-A2D508EA821B}"/>
          </ac:spMkLst>
        </pc:spChg>
        <pc:spChg chg="add del mod">
          <ac:chgData name="Ettore Minelli" userId="7870a1ad-01cf-4239-8cce-750deae7f4ef" providerId="ADAL" clId="{92D6CCFE-B354-431A-B56F-EE9654EA6B92}" dt="2022-11-23T10:56:29.368" v="1527" actId="478"/>
          <ac:spMkLst>
            <pc:docMk/>
            <pc:sldMk cId="1478123753" sldId="257"/>
            <ac:spMk id="17" creationId="{E13A68B4-247D-4585-85B8-CCF33BCF512A}"/>
          </ac:spMkLst>
        </pc:spChg>
        <pc:spChg chg="del">
          <ac:chgData name="Ettore Minelli" userId="7870a1ad-01cf-4239-8cce-750deae7f4ef" providerId="ADAL" clId="{92D6CCFE-B354-431A-B56F-EE9654EA6B92}" dt="2022-11-22T19:48:52.178" v="945" actId="478"/>
          <ac:spMkLst>
            <pc:docMk/>
            <pc:sldMk cId="1478123753" sldId="257"/>
            <ac:spMk id="18" creationId="{1CAFA9BF-B88A-48D3-BE13-6E303979B982}"/>
          </ac:spMkLst>
        </pc:spChg>
        <pc:spChg chg="add del mod">
          <ac:chgData name="Ettore Minelli" userId="7870a1ad-01cf-4239-8cce-750deae7f4ef" providerId="ADAL" clId="{92D6CCFE-B354-431A-B56F-EE9654EA6B92}" dt="2022-11-23T10:56:30.505" v="1528" actId="478"/>
          <ac:spMkLst>
            <pc:docMk/>
            <pc:sldMk cId="1478123753" sldId="257"/>
            <ac:spMk id="18" creationId="{34853A6E-6CCF-47DA-A977-6BA49B7DC307}"/>
          </ac:spMkLst>
        </pc:spChg>
        <pc:spChg chg="add del mod">
          <ac:chgData name="Ettore Minelli" userId="7870a1ad-01cf-4239-8cce-750deae7f4ef" providerId="ADAL" clId="{92D6CCFE-B354-431A-B56F-EE9654EA6B92}" dt="2022-11-26T10:05:32.145" v="2777" actId="478"/>
          <ac:spMkLst>
            <pc:docMk/>
            <pc:sldMk cId="1478123753" sldId="257"/>
            <ac:spMk id="18" creationId="{DD321C14-1002-4ABC-9AF6-9ADB8F10D59B}"/>
          </ac:spMkLst>
        </pc:spChg>
        <pc:spChg chg="add del mod topLvl">
          <ac:chgData name="Ettore Minelli" userId="7870a1ad-01cf-4239-8cce-750deae7f4ef" providerId="ADAL" clId="{92D6CCFE-B354-431A-B56F-EE9654EA6B92}" dt="2022-11-26T10:05:32.145" v="2777" actId="478"/>
          <ac:spMkLst>
            <pc:docMk/>
            <pc:sldMk cId="1478123753" sldId="257"/>
            <ac:spMk id="19" creationId="{ED7DA603-B9E5-4A13-98D3-24E5FFADC5E1}"/>
          </ac:spMkLst>
        </pc:spChg>
        <pc:spChg chg="add del mod topLvl">
          <ac:chgData name="Ettore Minelli" userId="7870a1ad-01cf-4239-8cce-750deae7f4ef" providerId="ADAL" clId="{92D6CCFE-B354-431A-B56F-EE9654EA6B92}" dt="2022-11-26T10:05:32.145" v="2777" actId="478"/>
          <ac:spMkLst>
            <pc:docMk/>
            <pc:sldMk cId="1478123753" sldId="257"/>
            <ac:spMk id="20" creationId="{BDFB7280-0F4D-4F05-A322-6E797BEA123F}"/>
          </ac:spMkLst>
        </pc:spChg>
        <pc:spChg chg="add del mod topLvl">
          <ac:chgData name="Ettore Minelli" userId="7870a1ad-01cf-4239-8cce-750deae7f4ef" providerId="ADAL" clId="{92D6CCFE-B354-431A-B56F-EE9654EA6B92}" dt="2022-11-23T19:30:14.699" v="2717" actId="478"/>
          <ac:spMkLst>
            <pc:docMk/>
            <pc:sldMk cId="1478123753" sldId="257"/>
            <ac:spMk id="21" creationId="{D3517209-2997-4E7E-A7A2-CC31382C02C2}"/>
          </ac:spMkLst>
        </pc:spChg>
        <pc:spChg chg="add mod">
          <ac:chgData name="Ettore Minelli" userId="7870a1ad-01cf-4239-8cce-750deae7f4ef" providerId="ADAL" clId="{92D6CCFE-B354-431A-B56F-EE9654EA6B92}" dt="2022-11-26T10:30:50.902" v="3054" actId="113"/>
          <ac:spMkLst>
            <pc:docMk/>
            <pc:sldMk cId="1478123753" sldId="257"/>
            <ac:spMk id="21" creationId="{D524631F-3D7A-4852-BE5B-DB3070DBA0A1}"/>
          </ac:spMkLst>
        </pc:spChg>
        <pc:spChg chg="add del mod topLvl">
          <ac:chgData name="Ettore Minelli" userId="7870a1ad-01cf-4239-8cce-750deae7f4ef" providerId="ADAL" clId="{92D6CCFE-B354-431A-B56F-EE9654EA6B92}" dt="2022-11-23T19:30:15.557" v="2718" actId="478"/>
          <ac:spMkLst>
            <pc:docMk/>
            <pc:sldMk cId="1478123753" sldId="257"/>
            <ac:spMk id="22" creationId="{1D726F8D-E787-4EDE-A266-CBB15F6A8C7C}"/>
          </ac:spMkLst>
        </pc:spChg>
        <pc:spChg chg="add del mod">
          <ac:chgData name="Ettore Minelli" userId="7870a1ad-01cf-4239-8cce-750deae7f4ef" providerId="ADAL" clId="{92D6CCFE-B354-431A-B56F-EE9654EA6B92}" dt="2022-11-26T10:25:06.725" v="2964" actId="478"/>
          <ac:spMkLst>
            <pc:docMk/>
            <pc:sldMk cId="1478123753" sldId="257"/>
            <ac:spMk id="22" creationId="{6C066419-8EF7-4231-BD46-6E420CBE784C}"/>
          </ac:spMkLst>
        </pc:spChg>
        <pc:spChg chg="del">
          <ac:chgData name="Ettore Minelli" userId="7870a1ad-01cf-4239-8cce-750deae7f4ef" providerId="ADAL" clId="{92D6CCFE-B354-431A-B56F-EE9654EA6B92}" dt="2022-11-22T19:48:52.178" v="945" actId="478"/>
          <ac:spMkLst>
            <pc:docMk/>
            <pc:sldMk cId="1478123753" sldId="257"/>
            <ac:spMk id="23" creationId="{547A4429-CF71-42E3-8F7B-089938594B99}"/>
          </ac:spMkLst>
        </pc:spChg>
        <pc:spChg chg="add del mod">
          <ac:chgData name="Ettore Minelli" userId="7870a1ad-01cf-4239-8cce-750deae7f4ef" providerId="ADAL" clId="{92D6CCFE-B354-431A-B56F-EE9654EA6B92}" dt="2022-11-26T10:05:32.145" v="2777" actId="478"/>
          <ac:spMkLst>
            <pc:docMk/>
            <pc:sldMk cId="1478123753" sldId="257"/>
            <ac:spMk id="23" creationId="{CB107940-C8C8-40E0-8D57-2A0EE7542BCA}"/>
          </ac:spMkLst>
        </pc:spChg>
        <pc:spChg chg="add mod">
          <ac:chgData name="Ettore Minelli" userId="7870a1ad-01cf-4239-8cce-750deae7f4ef" providerId="ADAL" clId="{92D6CCFE-B354-431A-B56F-EE9654EA6B92}" dt="2022-11-23T11:27:51.340" v="1743" actId="571"/>
          <ac:spMkLst>
            <pc:docMk/>
            <pc:sldMk cId="1478123753" sldId="257"/>
            <ac:spMk id="24" creationId="{868F64B0-F9BD-4D32-B114-4D56EB709744}"/>
          </ac:spMkLst>
        </pc:spChg>
        <pc:spChg chg="add del mod">
          <ac:chgData name="Ettore Minelli" userId="7870a1ad-01cf-4239-8cce-750deae7f4ef" providerId="ADAL" clId="{92D6CCFE-B354-431A-B56F-EE9654EA6B92}" dt="2022-11-26T10:05:32.145" v="2777" actId="478"/>
          <ac:spMkLst>
            <pc:docMk/>
            <pc:sldMk cId="1478123753" sldId="257"/>
            <ac:spMk id="24" creationId="{FEEED5EC-D5C9-4F3F-85DF-33697C83F7BC}"/>
          </ac:spMkLst>
        </pc:spChg>
        <pc:spChg chg="add del mod">
          <ac:chgData name="Ettore Minelli" userId="7870a1ad-01cf-4239-8cce-750deae7f4ef" providerId="ADAL" clId="{92D6CCFE-B354-431A-B56F-EE9654EA6B92}" dt="2022-11-26T10:05:32.145" v="2777" actId="478"/>
          <ac:spMkLst>
            <pc:docMk/>
            <pc:sldMk cId="1478123753" sldId="257"/>
            <ac:spMk id="25" creationId="{BF27F3B7-0899-47D2-B034-31CDC5C2C156}"/>
          </ac:spMkLst>
        </pc:spChg>
        <pc:spChg chg="add mod">
          <ac:chgData name="Ettore Minelli" userId="7870a1ad-01cf-4239-8cce-750deae7f4ef" providerId="ADAL" clId="{92D6CCFE-B354-431A-B56F-EE9654EA6B92}" dt="2022-11-23T11:27:51.340" v="1743" actId="571"/>
          <ac:spMkLst>
            <pc:docMk/>
            <pc:sldMk cId="1478123753" sldId="257"/>
            <ac:spMk id="25" creationId="{E23EC21B-0F9A-4834-A816-312AE7325D74}"/>
          </ac:spMkLst>
        </pc:spChg>
        <pc:spChg chg="add mod">
          <ac:chgData name="Ettore Minelli" userId="7870a1ad-01cf-4239-8cce-750deae7f4ef" providerId="ADAL" clId="{92D6CCFE-B354-431A-B56F-EE9654EA6B92}" dt="2022-11-23T11:27:51.340" v="1743" actId="571"/>
          <ac:spMkLst>
            <pc:docMk/>
            <pc:sldMk cId="1478123753" sldId="257"/>
            <ac:spMk id="26" creationId="{07614D5F-34CF-4AEF-8044-AAE78E42F627}"/>
          </ac:spMkLst>
        </pc:spChg>
        <pc:spChg chg="add mod">
          <ac:chgData name="Ettore Minelli" userId="7870a1ad-01cf-4239-8cce-750deae7f4ef" providerId="ADAL" clId="{92D6CCFE-B354-431A-B56F-EE9654EA6B92}" dt="2022-11-23T19:31:09.263" v="2733" actId="571"/>
          <ac:spMkLst>
            <pc:docMk/>
            <pc:sldMk cId="1478123753" sldId="257"/>
            <ac:spMk id="26" creationId="{4906699D-E332-4B9C-A107-6776154A72A6}"/>
          </ac:spMkLst>
        </pc:spChg>
        <pc:spChg chg="add mod">
          <ac:chgData name="Ettore Minelli" userId="7870a1ad-01cf-4239-8cce-750deae7f4ef" providerId="ADAL" clId="{92D6CCFE-B354-431A-B56F-EE9654EA6B92}" dt="2022-11-26T10:35:03.626" v="3055"/>
          <ac:spMkLst>
            <pc:docMk/>
            <pc:sldMk cId="1478123753" sldId="257"/>
            <ac:spMk id="26" creationId="{4B468443-7803-4792-BCBD-5F0EC97F8820}"/>
          </ac:spMkLst>
        </pc:spChg>
        <pc:spChg chg="add mod">
          <ac:chgData name="Ettore Minelli" userId="7870a1ad-01cf-4239-8cce-750deae7f4ef" providerId="ADAL" clId="{92D6CCFE-B354-431A-B56F-EE9654EA6B92}" dt="2022-11-23T19:31:09.263" v="2733" actId="571"/>
          <ac:spMkLst>
            <pc:docMk/>
            <pc:sldMk cId="1478123753" sldId="257"/>
            <ac:spMk id="27" creationId="{3567CFD4-9866-4E0C-BACC-BA93F5B3F6E4}"/>
          </ac:spMkLst>
        </pc:spChg>
        <pc:spChg chg="add mod">
          <ac:chgData name="Ettore Minelli" userId="7870a1ad-01cf-4239-8cce-750deae7f4ef" providerId="ADAL" clId="{92D6CCFE-B354-431A-B56F-EE9654EA6B92}" dt="2022-11-23T19:31:09.263" v="2733" actId="571"/>
          <ac:spMkLst>
            <pc:docMk/>
            <pc:sldMk cId="1478123753" sldId="257"/>
            <ac:spMk id="28" creationId="{9DC8AA04-5AB6-4705-9C8F-266480054A7E}"/>
          </ac:spMkLst>
        </pc:spChg>
        <pc:grpChg chg="add del mod ord">
          <ac:chgData name="Ettore Minelli" userId="7870a1ad-01cf-4239-8cce-750deae7f4ef" providerId="ADAL" clId="{92D6CCFE-B354-431A-B56F-EE9654EA6B92}" dt="2022-11-23T19:29:57.815" v="2713" actId="165"/>
          <ac:grpSpMkLst>
            <pc:docMk/>
            <pc:sldMk cId="1478123753" sldId="257"/>
            <ac:grpSpMk id="2" creationId="{FD188716-7875-496B-9F5F-A97C2883A11F}"/>
          </ac:grpSpMkLst>
        </pc:grpChg>
        <pc:graphicFrameChg chg="mod">
          <ac:chgData name="Ettore Minelli" userId="7870a1ad-01cf-4239-8cce-750deae7f4ef" providerId="ADAL" clId="{92D6CCFE-B354-431A-B56F-EE9654EA6B92}" dt="2022-11-23T11:15:06.573" v="1607"/>
          <ac:graphicFrameMkLst>
            <pc:docMk/>
            <pc:sldMk cId="1478123753" sldId="257"/>
            <ac:graphicFrameMk id="4" creationId="{C5BB466E-31F0-4F06-B874-1C7B729BC687}"/>
          </ac:graphicFrameMkLst>
        </pc:graphicFrameChg>
        <pc:picChg chg="del">
          <ac:chgData name="Ettore Minelli" userId="7870a1ad-01cf-4239-8cce-750deae7f4ef" providerId="ADAL" clId="{92D6CCFE-B354-431A-B56F-EE9654EA6B92}" dt="2022-11-22T19:48:53.797" v="946" actId="478"/>
          <ac:picMkLst>
            <pc:docMk/>
            <pc:sldMk cId="1478123753" sldId="257"/>
            <ac:picMk id="15" creationId="{0F4E060D-5456-4431-9F60-11A4169859B3}"/>
          </ac:picMkLst>
        </pc:picChg>
        <pc:cxnChg chg="add del mod topLvl">
          <ac:chgData name="Ettore Minelli" userId="7870a1ad-01cf-4239-8cce-750deae7f4ef" providerId="ADAL" clId="{92D6CCFE-B354-431A-B56F-EE9654EA6B92}" dt="2022-11-26T10:05:32.145" v="2777" actId="478"/>
          <ac:cxnSpMkLst>
            <pc:docMk/>
            <pc:sldMk cId="1478123753" sldId="257"/>
            <ac:cxnSpMk id="6" creationId="{388DA054-22B8-4F67-B6F4-8F77F762A79F}"/>
          </ac:cxnSpMkLst>
        </pc:cxnChg>
      </pc:sldChg>
      <pc:sldChg chg="addSp delSp modSp new add mod ord">
        <pc:chgData name="Ettore Minelli" userId="7870a1ad-01cf-4239-8cce-750deae7f4ef" providerId="ADAL" clId="{92D6CCFE-B354-431A-B56F-EE9654EA6B92}" dt="2022-11-23T11:43:03.688" v="1971"/>
        <pc:sldMkLst>
          <pc:docMk/>
          <pc:sldMk cId="1227350060" sldId="258"/>
        </pc:sldMkLst>
        <pc:spChg chg="del">
          <ac:chgData name="Ettore Minelli" userId="7870a1ad-01cf-4239-8cce-750deae7f4ef" providerId="ADAL" clId="{92D6CCFE-B354-431A-B56F-EE9654EA6B92}" dt="2022-11-22T19:47:39.551" v="896" actId="478"/>
          <ac:spMkLst>
            <pc:docMk/>
            <pc:sldMk cId="1227350060" sldId="258"/>
            <ac:spMk id="2" creationId="{C98E5772-0C30-404F-A09A-D5F87B4009F5}"/>
          </ac:spMkLst>
        </pc:spChg>
        <pc:spChg chg="add mod">
          <ac:chgData name="Ettore Minelli" userId="7870a1ad-01cf-4239-8cce-750deae7f4ef" providerId="ADAL" clId="{92D6CCFE-B354-431A-B56F-EE9654EA6B92}" dt="2022-11-23T11:43:03.688" v="1971"/>
          <ac:spMkLst>
            <pc:docMk/>
            <pc:sldMk cId="1227350060" sldId="258"/>
            <ac:spMk id="2" creationId="{E4071253-F4EC-4054-9E85-C18D0676722A}"/>
          </ac:spMkLst>
        </pc:spChg>
        <pc:spChg chg="del">
          <ac:chgData name="Ettore Minelli" userId="7870a1ad-01cf-4239-8cce-750deae7f4ef" providerId="ADAL" clId="{92D6CCFE-B354-431A-B56F-EE9654EA6B92}" dt="2022-11-22T19:47:38.197" v="895" actId="478"/>
          <ac:spMkLst>
            <pc:docMk/>
            <pc:sldMk cId="1227350060" sldId="258"/>
            <ac:spMk id="3" creationId="{61FBCF65-9AA3-4D96-A832-5CE517A34841}"/>
          </ac:spMkLst>
        </pc:spChg>
        <pc:graphicFrameChg chg="add mod modVis replST">
          <ac:chgData name="Ettore Minelli" userId="7870a1ad-01cf-4239-8cce-750deae7f4ef" providerId="ADAL" clId="{92D6CCFE-B354-431A-B56F-EE9654EA6B92}" dt="2022-11-22T19:47:40.099" v="911"/>
          <ac:graphicFrameMkLst>
            <pc:docMk/>
            <pc:sldMk cId="1227350060" sldId="258"/>
            <ac:graphicFrameMk id="4" creationId="{66DC9E5D-B060-4987-BE7A-1F53B3E59A47}"/>
          </ac:graphicFrameMkLst>
        </pc:graphicFrameChg>
        <pc:picChg chg="add">
          <ac:chgData name="Ettore Minelli" userId="7870a1ad-01cf-4239-8cce-750deae7f4ef" providerId="ADAL" clId="{92D6CCFE-B354-431A-B56F-EE9654EA6B92}" dt="2022-11-22T19:47:40.321" v="913"/>
          <ac:picMkLst>
            <pc:docMk/>
            <pc:sldMk cId="1227350060" sldId="258"/>
            <ac:picMk id="6" creationId="{B34789CA-9A83-40A4-8309-33AE658D754B}"/>
          </ac:picMkLst>
        </pc:picChg>
      </pc:sldChg>
      <pc:sldChg chg="addSp new add ord">
        <pc:chgData name="Ettore Minelli" userId="7870a1ad-01cf-4239-8cce-750deae7f4ef" providerId="ADAL" clId="{92D6CCFE-B354-431A-B56F-EE9654EA6B92}" dt="2022-11-23T10:48:34.697" v="1478"/>
        <pc:sldMkLst>
          <pc:docMk/>
          <pc:sldMk cId="2222165479" sldId="259"/>
        </pc:sldMkLst>
        <pc:picChg chg="add">
          <ac:chgData name="Ettore Minelli" userId="7870a1ad-01cf-4239-8cce-750deae7f4ef" providerId="ADAL" clId="{92D6CCFE-B354-431A-B56F-EE9654EA6B92}" dt="2022-11-23T10:48:30.977" v="1476"/>
          <ac:picMkLst>
            <pc:docMk/>
            <pc:sldMk cId="2222165479" sldId="259"/>
            <ac:picMk id="1026" creationId="{D23C29CB-DBD6-448C-A55A-62714F80AEF8}"/>
          </ac:picMkLst>
        </pc:picChg>
      </pc:sldChg>
      <pc:sldChg chg="addSp delSp modSp add mod">
        <pc:chgData name="Ettore Minelli" userId="7870a1ad-01cf-4239-8cce-750deae7f4ef" providerId="ADAL" clId="{92D6CCFE-B354-431A-B56F-EE9654EA6B92}" dt="2022-11-26T13:37:29.059" v="4056" actId="20577"/>
        <pc:sldMkLst>
          <pc:docMk/>
          <pc:sldMk cId="167216850" sldId="260"/>
        </pc:sldMkLst>
        <pc:spChg chg="add mod topLvl">
          <ac:chgData name="Ettore Minelli" userId="7870a1ad-01cf-4239-8cce-750deae7f4ef" providerId="ADAL" clId="{92D6CCFE-B354-431A-B56F-EE9654EA6B92}" dt="2022-11-23T19:25:58.889" v="2632" actId="164"/>
          <ac:spMkLst>
            <pc:docMk/>
            <pc:sldMk cId="167216850" sldId="260"/>
            <ac:spMk id="2" creationId="{5ACAD98F-15A6-42D9-87DD-1BB073CE26E3}"/>
          </ac:spMkLst>
        </pc:spChg>
        <pc:spChg chg="add mod topLvl">
          <ac:chgData name="Ettore Minelli" userId="7870a1ad-01cf-4239-8cce-750deae7f4ef" providerId="ADAL" clId="{92D6CCFE-B354-431A-B56F-EE9654EA6B92}" dt="2022-11-23T19:25:58.889" v="2632" actId="164"/>
          <ac:spMkLst>
            <pc:docMk/>
            <pc:sldMk cId="167216850" sldId="260"/>
            <ac:spMk id="3" creationId="{9C4EEDF8-3F4E-4D8E-BFD3-08566BAC9A27}"/>
          </ac:spMkLst>
        </pc:spChg>
        <pc:spChg chg="del">
          <ac:chgData name="Ettore Minelli" userId="7870a1ad-01cf-4239-8cce-750deae7f4ef" providerId="ADAL" clId="{92D6CCFE-B354-431A-B56F-EE9654EA6B92}" dt="2022-11-23T11:19:43.174" v="1611" actId="478"/>
          <ac:spMkLst>
            <pc:docMk/>
            <pc:sldMk cId="167216850" sldId="260"/>
            <ac:spMk id="3" creationId="{E6F1312B-8891-48DD-98C2-16B4CE92C941}"/>
          </ac:spMkLst>
        </pc:spChg>
        <pc:spChg chg="mod ord">
          <ac:chgData name="Ettore Minelli" userId="7870a1ad-01cf-4239-8cce-750deae7f4ef" providerId="ADAL" clId="{92D6CCFE-B354-431A-B56F-EE9654EA6B92}" dt="2022-11-23T11:36:41.835" v="1894"/>
          <ac:spMkLst>
            <pc:docMk/>
            <pc:sldMk cId="167216850" sldId="260"/>
            <ac:spMk id="5" creationId="{B5356F45-3B6A-4C01-B098-687217640885}"/>
          </ac:spMkLst>
        </pc:spChg>
        <pc:spChg chg="mod ord">
          <ac:chgData name="Ettore Minelli" userId="7870a1ad-01cf-4239-8cce-750deae7f4ef" providerId="ADAL" clId="{92D6CCFE-B354-431A-B56F-EE9654EA6B92}" dt="2022-11-23T11:36:41.835" v="1896"/>
          <ac:spMkLst>
            <pc:docMk/>
            <pc:sldMk cId="167216850" sldId="260"/>
            <ac:spMk id="7" creationId="{545FA16E-9196-4C66-B602-E8DAD1AE22D7}"/>
          </ac:spMkLst>
        </pc:spChg>
        <pc:spChg chg="mod ord">
          <ac:chgData name="Ettore Minelli" userId="7870a1ad-01cf-4239-8cce-750deae7f4ef" providerId="ADAL" clId="{92D6CCFE-B354-431A-B56F-EE9654EA6B92}" dt="2022-11-23T11:36:41.835" v="1898"/>
          <ac:spMkLst>
            <pc:docMk/>
            <pc:sldMk cId="167216850" sldId="260"/>
            <ac:spMk id="8" creationId="{814A1F4F-C58D-4A2E-982D-E0FE0E9E8447}"/>
          </ac:spMkLst>
        </pc:spChg>
        <pc:spChg chg="mod ord">
          <ac:chgData name="Ettore Minelli" userId="7870a1ad-01cf-4239-8cce-750deae7f4ef" providerId="ADAL" clId="{92D6CCFE-B354-431A-B56F-EE9654EA6B92}" dt="2022-11-23T11:36:41.835" v="1900"/>
          <ac:spMkLst>
            <pc:docMk/>
            <pc:sldMk cId="167216850" sldId="260"/>
            <ac:spMk id="9" creationId="{38B14458-C0F1-4E24-816C-69BD2020C8E7}"/>
          </ac:spMkLst>
        </pc:spChg>
        <pc:spChg chg="add mod ord">
          <ac:chgData name="Ettore Minelli" userId="7870a1ad-01cf-4239-8cce-750deae7f4ef" providerId="ADAL" clId="{92D6CCFE-B354-431A-B56F-EE9654EA6B92}" dt="2022-11-23T19:11:18.985" v="2425" actId="2711"/>
          <ac:spMkLst>
            <pc:docMk/>
            <pc:sldMk cId="167216850" sldId="260"/>
            <ac:spMk id="12" creationId="{CDA6C5E8-3FA2-4D0F-B774-6D621816754B}"/>
          </ac:spMkLst>
        </pc:spChg>
        <pc:spChg chg="add mod ord">
          <ac:chgData name="Ettore Minelli" userId="7870a1ad-01cf-4239-8cce-750deae7f4ef" providerId="ADAL" clId="{92D6CCFE-B354-431A-B56F-EE9654EA6B92}" dt="2022-11-23T19:11:18.985" v="2425" actId="2711"/>
          <ac:spMkLst>
            <pc:docMk/>
            <pc:sldMk cId="167216850" sldId="260"/>
            <ac:spMk id="13" creationId="{19C9C38D-9F43-4026-B334-80FE5ADC4728}"/>
          </ac:spMkLst>
        </pc:spChg>
        <pc:spChg chg="del">
          <ac:chgData name="Ettore Minelli" userId="7870a1ad-01cf-4239-8cce-750deae7f4ef" providerId="ADAL" clId="{92D6CCFE-B354-431A-B56F-EE9654EA6B92}" dt="2022-11-23T11:19:46.907" v="1613" actId="478"/>
          <ac:spMkLst>
            <pc:docMk/>
            <pc:sldMk cId="167216850" sldId="260"/>
            <ac:spMk id="15" creationId="{B7451947-7F4E-4A85-9685-23A16CBD9C8F}"/>
          </ac:spMkLst>
        </pc:spChg>
        <pc:spChg chg="add del">
          <ac:chgData name="Ettore Minelli" userId="7870a1ad-01cf-4239-8cce-750deae7f4ef" providerId="ADAL" clId="{92D6CCFE-B354-431A-B56F-EE9654EA6B92}" dt="2022-11-23T11:36:20.290" v="1871" actId="11529"/>
          <ac:spMkLst>
            <pc:docMk/>
            <pc:sldMk cId="167216850" sldId="260"/>
            <ac:spMk id="17" creationId="{1FB85D67-CD7B-49AB-8DD4-BB518F182C09}"/>
          </ac:spMkLst>
        </pc:spChg>
        <pc:spChg chg="add mod">
          <ac:chgData name="Ettore Minelli" userId="7870a1ad-01cf-4239-8cce-750deae7f4ef" providerId="ADAL" clId="{92D6CCFE-B354-431A-B56F-EE9654EA6B92}" dt="2022-11-26T10:14:52.247" v="2916" actId="20577"/>
          <ac:spMkLst>
            <pc:docMk/>
            <pc:sldMk cId="167216850" sldId="260"/>
            <ac:spMk id="17" creationId="{8114BA6F-3E79-401C-8AE2-7341E4417078}"/>
          </ac:spMkLst>
        </pc:spChg>
        <pc:spChg chg="add mod ord topLvl">
          <ac:chgData name="Ettore Minelli" userId="7870a1ad-01cf-4239-8cce-750deae7f4ef" providerId="ADAL" clId="{92D6CCFE-B354-431A-B56F-EE9654EA6B92}" dt="2022-11-23T19:11:18.985" v="2425" actId="2711"/>
          <ac:spMkLst>
            <pc:docMk/>
            <pc:sldMk cId="167216850" sldId="260"/>
            <ac:spMk id="18" creationId="{BC7AEF5A-B285-4879-90D6-54EA46591984}"/>
          </ac:spMkLst>
        </pc:spChg>
        <pc:spChg chg="add mod topLvl">
          <ac:chgData name="Ettore Minelli" userId="7870a1ad-01cf-4239-8cce-750deae7f4ef" providerId="ADAL" clId="{92D6CCFE-B354-431A-B56F-EE9654EA6B92}" dt="2022-11-23T19:25:58.889" v="2632" actId="164"/>
          <ac:spMkLst>
            <pc:docMk/>
            <pc:sldMk cId="167216850" sldId="260"/>
            <ac:spMk id="19" creationId="{35550B5A-D61A-485A-9EF8-E12305E2BED2}"/>
          </ac:spMkLst>
        </pc:spChg>
        <pc:spChg chg="add mod topLvl">
          <ac:chgData name="Ettore Minelli" userId="7870a1ad-01cf-4239-8cce-750deae7f4ef" providerId="ADAL" clId="{92D6CCFE-B354-431A-B56F-EE9654EA6B92}" dt="2022-11-23T19:25:58.889" v="2632" actId="164"/>
          <ac:spMkLst>
            <pc:docMk/>
            <pc:sldMk cId="167216850" sldId="260"/>
            <ac:spMk id="20" creationId="{9D394812-61F7-44FA-89D0-733F4CD48878}"/>
          </ac:spMkLst>
        </pc:spChg>
        <pc:spChg chg="mod topLvl">
          <ac:chgData name="Ettore Minelli" userId="7870a1ad-01cf-4239-8cce-750deae7f4ef" providerId="ADAL" clId="{92D6CCFE-B354-431A-B56F-EE9654EA6B92}" dt="2022-11-23T19:25:58.889" v="2632" actId="164"/>
          <ac:spMkLst>
            <pc:docMk/>
            <pc:sldMk cId="167216850" sldId="260"/>
            <ac:spMk id="23" creationId="{AED44B0D-3F01-415F-9073-1AE2AC8FC8DC}"/>
          </ac:spMkLst>
        </pc:spChg>
        <pc:spChg chg="mod">
          <ac:chgData name="Ettore Minelli" userId="7870a1ad-01cf-4239-8cce-750deae7f4ef" providerId="ADAL" clId="{92D6CCFE-B354-431A-B56F-EE9654EA6B92}" dt="2022-11-23T19:11:18.985" v="2425" actId="2711"/>
          <ac:spMkLst>
            <pc:docMk/>
            <pc:sldMk cId="167216850" sldId="260"/>
            <ac:spMk id="26" creationId="{B8152AC3-BD7B-4D2D-9AF4-271B5FD2D929}"/>
          </ac:spMkLst>
        </pc:spChg>
        <pc:spChg chg="add mod">
          <ac:chgData name="Ettore Minelli" userId="7870a1ad-01cf-4239-8cce-750deae7f4ef" providerId="ADAL" clId="{92D6CCFE-B354-431A-B56F-EE9654EA6B92}" dt="2022-11-23T19:11:18.985" v="2425" actId="2711"/>
          <ac:spMkLst>
            <pc:docMk/>
            <pc:sldMk cId="167216850" sldId="260"/>
            <ac:spMk id="28" creationId="{4882915A-7D6E-4340-99B6-FEA5D9073EDF}"/>
          </ac:spMkLst>
        </pc:spChg>
        <pc:spChg chg="mod topLvl">
          <ac:chgData name="Ettore Minelli" userId="7870a1ad-01cf-4239-8cce-750deae7f4ef" providerId="ADAL" clId="{92D6CCFE-B354-431A-B56F-EE9654EA6B92}" dt="2022-11-23T19:25:58.889" v="2632" actId="164"/>
          <ac:spMkLst>
            <pc:docMk/>
            <pc:sldMk cId="167216850" sldId="260"/>
            <ac:spMk id="29" creationId="{5970C6D0-D037-4F32-860C-99628F628316}"/>
          </ac:spMkLst>
        </pc:spChg>
        <pc:spChg chg="mod">
          <ac:chgData name="Ettore Minelli" userId="7870a1ad-01cf-4239-8cce-750deae7f4ef" providerId="ADAL" clId="{92D6CCFE-B354-431A-B56F-EE9654EA6B92}" dt="2022-11-23T19:18:49.576" v="2512"/>
          <ac:spMkLst>
            <pc:docMk/>
            <pc:sldMk cId="167216850" sldId="260"/>
            <ac:spMk id="31" creationId="{92B09E39-C006-473F-BF98-9BE023410DA7}"/>
          </ac:spMkLst>
        </pc:spChg>
        <pc:spChg chg="mod">
          <ac:chgData name="Ettore Minelli" userId="7870a1ad-01cf-4239-8cce-750deae7f4ef" providerId="ADAL" clId="{92D6CCFE-B354-431A-B56F-EE9654EA6B92}" dt="2022-11-23T19:19:11.360" v="2519" actId="20577"/>
          <ac:spMkLst>
            <pc:docMk/>
            <pc:sldMk cId="167216850" sldId="260"/>
            <ac:spMk id="32" creationId="{AC7EFF84-0B77-40D9-AD66-B6901D257381}"/>
          </ac:spMkLst>
        </pc:spChg>
        <pc:spChg chg="mod">
          <ac:chgData name="Ettore Minelli" userId="7870a1ad-01cf-4239-8cce-750deae7f4ef" providerId="ADAL" clId="{92D6CCFE-B354-431A-B56F-EE9654EA6B92}" dt="2022-11-23T19:18:49.576" v="2512"/>
          <ac:spMkLst>
            <pc:docMk/>
            <pc:sldMk cId="167216850" sldId="260"/>
            <ac:spMk id="36" creationId="{D3913242-5876-4FDC-92D7-B8A5F002B955}"/>
          </ac:spMkLst>
        </pc:spChg>
        <pc:spChg chg="mod">
          <ac:chgData name="Ettore Minelli" userId="7870a1ad-01cf-4239-8cce-750deae7f4ef" providerId="ADAL" clId="{92D6CCFE-B354-431A-B56F-EE9654EA6B92}" dt="2022-11-23T19:18:49.576" v="2512"/>
          <ac:spMkLst>
            <pc:docMk/>
            <pc:sldMk cId="167216850" sldId="260"/>
            <ac:spMk id="37" creationId="{E22FE6AC-31E7-411E-A6D3-D32B67ED097B}"/>
          </ac:spMkLst>
        </pc:spChg>
        <pc:spChg chg="mod">
          <ac:chgData name="Ettore Minelli" userId="7870a1ad-01cf-4239-8cce-750deae7f4ef" providerId="ADAL" clId="{92D6CCFE-B354-431A-B56F-EE9654EA6B92}" dt="2022-11-23T19:22:26.406" v="2574" actId="20577"/>
          <ac:spMkLst>
            <pc:docMk/>
            <pc:sldMk cId="167216850" sldId="260"/>
            <ac:spMk id="38" creationId="{EB585D8C-1A05-43F1-BE7C-C55BE465DB61}"/>
          </ac:spMkLst>
        </pc:spChg>
        <pc:spChg chg="mod">
          <ac:chgData name="Ettore Minelli" userId="7870a1ad-01cf-4239-8cce-750deae7f4ef" providerId="ADAL" clId="{92D6CCFE-B354-431A-B56F-EE9654EA6B92}" dt="2022-11-23T19:22:38.227" v="2582" actId="20577"/>
          <ac:spMkLst>
            <pc:docMk/>
            <pc:sldMk cId="167216850" sldId="260"/>
            <ac:spMk id="39" creationId="{A19176BB-C034-45FE-AEAC-E0B826B33884}"/>
          </ac:spMkLst>
        </pc:spChg>
        <pc:spChg chg="mod">
          <ac:chgData name="Ettore Minelli" userId="7870a1ad-01cf-4239-8cce-750deae7f4ef" providerId="ADAL" clId="{92D6CCFE-B354-431A-B56F-EE9654EA6B92}" dt="2022-11-23T19:27:34.249" v="2701" actId="14826"/>
          <ac:spMkLst>
            <pc:docMk/>
            <pc:sldMk cId="167216850" sldId="260"/>
            <ac:spMk id="41" creationId="{AF98925E-6375-41AC-A257-C2918017AA2C}"/>
          </ac:spMkLst>
        </pc:spChg>
        <pc:spChg chg="mod">
          <ac:chgData name="Ettore Minelli" userId="7870a1ad-01cf-4239-8cce-750deae7f4ef" providerId="ADAL" clId="{92D6CCFE-B354-431A-B56F-EE9654EA6B92}" dt="2022-11-23T19:27:34.249" v="2701" actId="14826"/>
          <ac:spMkLst>
            <pc:docMk/>
            <pc:sldMk cId="167216850" sldId="260"/>
            <ac:spMk id="42" creationId="{7C69A388-2931-4E59-B957-0C25BB4AC36D}"/>
          </ac:spMkLst>
        </pc:spChg>
        <pc:spChg chg="mod">
          <ac:chgData name="Ettore Minelli" userId="7870a1ad-01cf-4239-8cce-750deae7f4ef" providerId="ADAL" clId="{92D6CCFE-B354-431A-B56F-EE9654EA6B92}" dt="2022-11-23T19:27:34.249" v="2701" actId="14826"/>
          <ac:spMkLst>
            <pc:docMk/>
            <pc:sldMk cId="167216850" sldId="260"/>
            <ac:spMk id="43" creationId="{3D7FC6E3-EE11-449B-87D4-067C9FDB3206}"/>
          </ac:spMkLst>
        </pc:spChg>
        <pc:spChg chg="mod">
          <ac:chgData name="Ettore Minelli" userId="7870a1ad-01cf-4239-8cce-750deae7f4ef" providerId="ADAL" clId="{92D6CCFE-B354-431A-B56F-EE9654EA6B92}" dt="2022-11-26T13:37:29.059" v="4056" actId="20577"/>
          <ac:spMkLst>
            <pc:docMk/>
            <pc:sldMk cId="167216850" sldId="260"/>
            <ac:spMk id="44" creationId="{72994C31-CF66-4E7F-A373-34732A257C0C}"/>
          </ac:spMkLst>
        </pc:spChg>
        <pc:spChg chg="mod">
          <ac:chgData name="Ettore Minelli" userId="7870a1ad-01cf-4239-8cce-750deae7f4ef" providerId="ADAL" clId="{92D6CCFE-B354-431A-B56F-EE9654EA6B92}" dt="2022-11-23T19:27:34.249" v="2701" actId="14826"/>
          <ac:spMkLst>
            <pc:docMk/>
            <pc:sldMk cId="167216850" sldId="260"/>
            <ac:spMk id="45" creationId="{D5DA975B-BFAB-4B77-92D5-8405112DDA4A}"/>
          </ac:spMkLst>
        </pc:spChg>
        <pc:spChg chg="mod">
          <ac:chgData name="Ettore Minelli" userId="7870a1ad-01cf-4239-8cce-750deae7f4ef" providerId="ADAL" clId="{92D6CCFE-B354-431A-B56F-EE9654EA6B92}" dt="2022-11-23T19:27:34.249" v="2701" actId="14826"/>
          <ac:spMkLst>
            <pc:docMk/>
            <pc:sldMk cId="167216850" sldId="260"/>
            <ac:spMk id="46" creationId="{CC6E9EF8-306D-4305-B2F9-00963CCC56DA}"/>
          </ac:spMkLst>
        </pc:spChg>
        <pc:grpChg chg="del">
          <ac:chgData name="Ettore Minelli" userId="7870a1ad-01cf-4239-8cce-750deae7f4ef" providerId="ADAL" clId="{92D6CCFE-B354-431A-B56F-EE9654EA6B92}" dt="2022-11-23T11:19:46.069" v="1612" actId="478"/>
          <ac:grpSpMkLst>
            <pc:docMk/>
            <pc:sldMk cId="167216850" sldId="260"/>
            <ac:grpSpMk id="2" creationId="{FD188716-7875-496B-9F5F-A97C2883A11F}"/>
          </ac:grpSpMkLst>
        </pc:grpChg>
        <pc:grpChg chg="add del mod topLvl">
          <ac:chgData name="Ettore Minelli" userId="7870a1ad-01cf-4239-8cce-750deae7f4ef" providerId="ADAL" clId="{92D6CCFE-B354-431A-B56F-EE9654EA6B92}" dt="2022-11-23T19:25:27.285" v="2627" actId="165"/>
          <ac:grpSpMkLst>
            <pc:docMk/>
            <pc:sldMk cId="167216850" sldId="260"/>
            <ac:grpSpMk id="6" creationId="{3FEBFD29-2723-4F48-9BB9-BD7FA656FD4F}"/>
          </ac:grpSpMkLst>
        </pc:grpChg>
        <pc:grpChg chg="add del mod">
          <ac:chgData name="Ettore Minelli" userId="7870a1ad-01cf-4239-8cce-750deae7f4ef" providerId="ADAL" clId="{92D6CCFE-B354-431A-B56F-EE9654EA6B92}" dt="2022-11-23T19:24:48.148" v="2622" actId="165"/>
          <ac:grpSpMkLst>
            <pc:docMk/>
            <pc:sldMk cId="167216850" sldId="260"/>
            <ac:grpSpMk id="14" creationId="{B7938FAC-E844-4863-803B-3456685B1E56}"/>
          </ac:grpSpMkLst>
        </pc:grpChg>
        <pc:grpChg chg="add del mod">
          <ac:chgData name="Ettore Minelli" userId="7870a1ad-01cf-4239-8cce-750deae7f4ef" providerId="ADAL" clId="{92D6CCFE-B354-431A-B56F-EE9654EA6B92}" dt="2022-11-23T19:25:31.437" v="2628" actId="165"/>
          <ac:grpSpMkLst>
            <pc:docMk/>
            <pc:sldMk cId="167216850" sldId="260"/>
            <ac:grpSpMk id="15" creationId="{D0C6DA4B-4D96-449A-BF10-0162B06F7FE9}"/>
          </ac:grpSpMkLst>
        </pc:grpChg>
        <pc:grpChg chg="add mod">
          <ac:chgData name="Ettore Minelli" userId="7870a1ad-01cf-4239-8cce-750deae7f4ef" providerId="ADAL" clId="{92D6CCFE-B354-431A-B56F-EE9654EA6B92}" dt="2022-11-23T19:25:58.889" v="2632" actId="164"/>
          <ac:grpSpMkLst>
            <pc:docMk/>
            <pc:sldMk cId="167216850" sldId="260"/>
            <ac:grpSpMk id="21" creationId="{E58B9321-705A-46FF-B703-5546DEE608A4}"/>
          </ac:grpSpMkLst>
        </pc:grpChg>
        <pc:grpChg chg="add del mod topLvl">
          <ac:chgData name="Ettore Minelli" userId="7870a1ad-01cf-4239-8cce-750deae7f4ef" providerId="ADAL" clId="{92D6CCFE-B354-431A-B56F-EE9654EA6B92}" dt="2022-11-23T19:24:54.958" v="2623" actId="165"/>
          <ac:grpSpMkLst>
            <pc:docMk/>
            <pc:sldMk cId="167216850" sldId="260"/>
            <ac:grpSpMk id="22" creationId="{F853F872-CD1B-433F-BBE2-11393953210D}"/>
          </ac:grpSpMkLst>
        </pc:grpChg>
        <pc:grpChg chg="add del mod">
          <ac:chgData name="Ettore Minelli" userId="7870a1ad-01cf-4239-8cce-750deae7f4ef" providerId="ADAL" clId="{92D6CCFE-B354-431A-B56F-EE9654EA6B92}" dt="2022-11-23T11:38:49.018" v="1938" actId="165"/>
          <ac:grpSpMkLst>
            <pc:docMk/>
            <pc:sldMk cId="167216850" sldId="260"/>
            <ac:grpSpMk id="23" creationId="{9F8886C5-8FB3-4163-87A8-3F8004C78869}"/>
          </ac:grpSpMkLst>
        </pc:grpChg>
        <pc:grpChg chg="add mod">
          <ac:chgData name="Ettore Minelli" userId="7870a1ad-01cf-4239-8cce-750deae7f4ef" providerId="ADAL" clId="{92D6CCFE-B354-431A-B56F-EE9654EA6B92}" dt="2022-11-23T11:40:16.432" v="1945" actId="164"/>
          <ac:grpSpMkLst>
            <pc:docMk/>
            <pc:sldMk cId="167216850" sldId="260"/>
            <ac:grpSpMk id="24" creationId="{045C3DDE-1AC3-4B1A-A816-B5B2579FB1C2}"/>
          </ac:grpSpMkLst>
        </pc:grpChg>
        <pc:grpChg chg="add mod">
          <ac:chgData name="Ettore Minelli" userId="7870a1ad-01cf-4239-8cce-750deae7f4ef" providerId="ADAL" clId="{92D6CCFE-B354-431A-B56F-EE9654EA6B92}" dt="2022-11-23T11:50:09.041" v="2114" actId="1076"/>
          <ac:grpSpMkLst>
            <pc:docMk/>
            <pc:sldMk cId="167216850" sldId="260"/>
            <ac:grpSpMk id="25" creationId="{8097271D-EAAB-4E8E-8AA2-77F1EDCE9549}"/>
          </ac:grpSpMkLst>
        </pc:grpChg>
        <pc:grpChg chg="add del mod">
          <ac:chgData name="Ettore Minelli" userId="7870a1ad-01cf-4239-8cce-750deae7f4ef" providerId="ADAL" clId="{92D6CCFE-B354-431A-B56F-EE9654EA6B92}" dt="2022-11-23T19:25:53.495" v="2631" actId="478"/>
          <ac:grpSpMkLst>
            <pc:docMk/>
            <pc:sldMk cId="167216850" sldId="260"/>
            <ac:grpSpMk id="30" creationId="{6AAF7FA1-8DA9-49E2-8DCD-EF08E596A3F5}"/>
          </ac:grpSpMkLst>
        </pc:grpChg>
        <pc:grpChg chg="mod">
          <ac:chgData name="Ettore Minelli" userId="7870a1ad-01cf-4239-8cce-750deae7f4ef" providerId="ADAL" clId="{92D6CCFE-B354-431A-B56F-EE9654EA6B92}" dt="2022-11-23T19:18:49.576" v="2512"/>
          <ac:grpSpMkLst>
            <pc:docMk/>
            <pc:sldMk cId="167216850" sldId="260"/>
            <ac:grpSpMk id="33" creationId="{2461CC80-B91D-4060-9DF2-ABE1FD317CD7}"/>
          </ac:grpSpMkLst>
        </pc:grpChg>
        <pc:grpChg chg="mod">
          <ac:chgData name="Ettore Minelli" userId="7870a1ad-01cf-4239-8cce-750deae7f4ef" providerId="ADAL" clId="{92D6CCFE-B354-431A-B56F-EE9654EA6B92}" dt="2022-11-23T19:18:49.576" v="2512"/>
          <ac:grpSpMkLst>
            <pc:docMk/>
            <pc:sldMk cId="167216850" sldId="260"/>
            <ac:grpSpMk id="34" creationId="{D5AC5B58-FAFD-4471-B176-7167DDAD027A}"/>
          </ac:grpSpMkLst>
        </pc:grpChg>
        <pc:grpChg chg="add mod">
          <ac:chgData name="Ettore Minelli" userId="7870a1ad-01cf-4239-8cce-750deae7f4ef" providerId="ADAL" clId="{92D6CCFE-B354-431A-B56F-EE9654EA6B92}" dt="2022-11-23T19:27:34.249" v="2701" actId="14826"/>
          <ac:grpSpMkLst>
            <pc:docMk/>
            <pc:sldMk cId="167216850" sldId="260"/>
            <ac:grpSpMk id="40" creationId="{ED72F468-8836-4D4A-9DC8-285232F8A50E}"/>
          </ac:grpSpMkLst>
        </pc:grpChg>
        <pc:graphicFrameChg chg="mod">
          <ac:chgData name="Ettore Minelli" userId="7870a1ad-01cf-4239-8cce-750deae7f4ef" providerId="ADAL" clId="{92D6CCFE-B354-431A-B56F-EE9654EA6B92}" dt="2022-11-23T11:36:41.843" v="1911"/>
          <ac:graphicFrameMkLst>
            <pc:docMk/>
            <pc:sldMk cId="167216850" sldId="260"/>
            <ac:graphicFrameMk id="4" creationId="{C5BB466E-31F0-4F06-B874-1C7B729BC687}"/>
          </ac:graphicFrameMkLst>
        </pc:graphicFrameChg>
        <pc:picChg chg="add mod topLvl">
          <ac:chgData name="Ettore Minelli" userId="7870a1ad-01cf-4239-8cce-750deae7f4ef" providerId="ADAL" clId="{92D6CCFE-B354-431A-B56F-EE9654EA6B92}" dt="2022-11-23T19:25:58.889" v="2632" actId="164"/>
          <ac:picMkLst>
            <pc:docMk/>
            <pc:sldMk cId="167216850" sldId="260"/>
            <ac:picMk id="11" creationId="{261E2763-EF38-4100-AE95-4C50EC8A2ACB}"/>
          </ac:picMkLst>
        </pc:picChg>
        <pc:picChg chg="add mod ord topLvl">
          <ac:chgData name="Ettore Minelli" userId="7870a1ad-01cf-4239-8cce-750deae7f4ef" providerId="ADAL" clId="{92D6CCFE-B354-431A-B56F-EE9654EA6B92}" dt="2022-11-23T11:40:16.432" v="1945" actId="164"/>
          <ac:picMkLst>
            <pc:docMk/>
            <pc:sldMk cId="167216850" sldId="260"/>
            <ac:picMk id="16" creationId="{75DE56B9-C6AF-410F-9802-51F4A0F37853}"/>
          </ac:picMkLst>
        </pc:picChg>
        <pc:picChg chg="mod">
          <ac:chgData name="Ettore Minelli" userId="7870a1ad-01cf-4239-8cce-750deae7f4ef" providerId="ADAL" clId="{92D6CCFE-B354-431A-B56F-EE9654EA6B92}" dt="2022-11-23T11:40:35.638" v="1946"/>
          <ac:picMkLst>
            <pc:docMk/>
            <pc:sldMk cId="167216850" sldId="260"/>
            <ac:picMk id="27" creationId="{1DECBF84-143B-4FD4-A4A4-6226371367EB}"/>
          </ac:picMkLst>
        </pc:picChg>
        <pc:picChg chg="add del mod">
          <ac:chgData name="Ettore Minelli" userId="7870a1ad-01cf-4239-8cce-750deae7f4ef" providerId="ADAL" clId="{92D6CCFE-B354-431A-B56F-EE9654EA6B92}" dt="2022-11-23T12:00:09.666" v="2117" actId="478"/>
          <ac:picMkLst>
            <pc:docMk/>
            <pc:sldMk cId="167216850" sldId="260"/>
            <ac:picMk id="29" creationId="{ED39B565-BAC2-447E-B893-16BF88C517A8}"/>
          </ac:picMkLst>
        </pc:picChg>
        <pc:picChg chg="mod">
          <ac:chgData name="Ettore Minelli" userId="7870a1ad-01cf-4239-8cce-750deae7f4ef" providerId="ADAL" clId="{92D6CCFE-B354-431A-B56F-EE9654EA6B92}" dt="2022-11-23T19:18:49.576" v="2512"/>
          <ac:picMkLst>
            <pc:docMk/>
            <pc:sldMk cId="167216850" sldId="260"/>
            <ac:picMk id="35" creationId="{B3882D28-7459-467A-864D-BC40EC5EF8E9}"/>
          </ac:picMkLst>
        </pc:picChg>
        <pc:picChg chg="del mod">
          <ac:chgData name="Ettore Minelli" userId="7870a1ad-01cf-4239-8cce-750deae7f4ef" providerId="ADAL" clId="{92D6CCFE-B354-431A-B56F-EE9654EA6B92}" dt="2022-11-23T19:27:44.068" v="2702" actId="478"/>
          <ac:picMkLst>
            <pc:docMk/>
            <pc:sldMk cId="167216850" sldId="260"/>
            <ac:picMk id="47" creationId="{4231DDA1-5362-4307-B87A-CDD5295FB680}"/>
          </ac:picMkLst>
        </pc:picChg>
        <pc:picChg chg="add mod modCrop">
          <ac:chgData name="Ettore Minelli" userId="7870a1ad-01cf-4239-8cce-750deae7f4ef" providerId="ADAL" clId="{92D6CCFE-B354-431A-B56F-EE9654EA6B92}" dt="2022-11-23T19:28:07.071" v="2708" actId="1076"/>
          <ac:picMkLst>
            <pc:docMk/>
            <pc:sldMk cId="167216850" sldId="260"/>
            <ac:picMk id="49" creationId="{7E29228D-B85A-4BF4-A00D-FA7BC47CC2F9}"/>
          </ac:picMkLst>
        </pc:picChg>
      </pc:sldChg>
      <pc:sldChg chg="modSp add mod">
        <pc:chgData name="Ettore Minelli" userId="7870a1ad-01cf-4239-8cce-750deae7f4ef" providerId="ADAL" clId="{92D6CCFE-B354-431A-B56F-EE9654EA6B92}" dt="2022-11-26T12:22:44.581" v="3631" actId="20577"/>
        <pc:sldMkLst>
          <pc:docMk/>
          <pc:sldMk cId="459872537" sldId="261"/>
        </pc:sldMkLst>
        <pc:spChg chg="mod">
          <ac:chgData name="Ettore Minelli" userId="7870a1ad-01cf-4239-8cce-750deae7f4ef" providerId="ADAL" clId="{92D6CCFE-B354-431A-B56F-EE9654EA6B92}" dt="2022-11-26T12:22:44.581" v="3631" actId="20577"/>
          <ac:spMkLst>
            <pc:docMk/>
            <pc:sldMk cId="459872537" sldId="261"/>
            <ac:spMk id="20" creationId="{BDFB7280-0F4D-4F05-A322-6E797BEA123F}"/>
          </ac:spMkLst>
        </pc:spChg>
      </pc:sldChg>
      <pc:sldChg chg="delSp modSp add del mod">
        <pc:chgData name="Ettore Minelli" userId="7870a1ad-01cf-4239-8cce-750deae7f4ef" providerId="ADAL" clId="{92D6CCFE-B354-431A-B56F-EE9654EA6B92}" dt="2022-11-26T10:05:21.545" v="2774" actId="47"/>
        <pc:sldMkLst>
          <pc:docMk/>
          <pc:sldMk cId="912591294" sldId="261"/>
        </pc:sldMkLst>
        <pc:spChg chg="mod">
          <ac:chgData name="Ettore Minelli" userId="7870a1ad-01cf-4239-8cce-750deae7f4ef" providerId="ADAL" clId="{92D6CCFE-B354-431A-B56F-EE9654EA6B92}" dt="2022-11-26T10:05:06.848" v="2773" actId="20577"/>
          <ac:spMkLst>
            <pc:docMk/>
            <pc:sldMk cId="912591294" sldId="261"/>
            <ac:spMk id="10" creationId="{D749960C-450C-479B-A06F-D1CDB0840395}"/>
          </ac:spMkLst>
        </pc:spChg>
        <pc:spChg chg="del">
          <ac:chgData name="Ettore Minelli" userId="7870a1ad-01cf-4239-8cce-750deae7f4ef" providerId="ADAL" clId="{92D6CCFE-B354-431A-B56F-EE9654EA6B92}" dt="2022-11-26T10:04:49.507" v="2751" actId="478"/>
          <ac:spMkLst>
            <pc:docMk/>
            <pc:sldMk cId="912591294" sldId="261"/>
            <ac:spMk id="23" creationId="{547A4429-CF71-42E3-8F7B-089938594B99}"/>
          </ac:spMkLst>
        </pc:spChg>
        <pc:picChg chg="del">
          <ac:chgData name="Ettore Minelli" userId="7870a1ad-01cf-4239-8cce-750deae7f4ef" providerId="ADAL" clId="{92D6CCFE-B354-431A-B56F-EE9654EA6B92}" dt="2022-11-26T10:04:46.567" v="2750" actId="478"/>
          <ac:picMkLst>
            <pc:docMk/>
            <pc:sldMk cId="912591294" sldId="261"/>
            <ac:picMk id="15" creationId="{0F4E060D-5456-4431-9F60-11A4169859B3}"/>
          </ac:picMkLst>
        </pc:picChg>
      </pc:sldChg>
      <pc:sldChg chg="new add del">
        <pc:chgData name="Ettore Minelli" userId="7870a1ad-01cf-4239-8cce-750deae7f4ef" providerId="ADAL" clId="{92D6CCFE-B354-431A-B56F-EE9654EA6B92}" dt="2022-11-26T10:04:41.653" v="2748" actId="47"/>
        <pc:sldMkLst>
          <pc:docMk/>
          <pc:sldMk cId="2819884454" sldId="261"/>
        </pc:sldMkLst>
      </pc:sldChg>
      <pc:sldChg chg="addSp delSp modSp add mod">
        <pc:chgData name="Ettore Minelli" userId="7870a1ad-01cf-4239-8cce-750deae7f4ef" providerId="ADAL" clId="{92D6CCFE-B354-431A-B56F-EE9654EA6B92}" dt="2022-11-26T14:01:06.938" v="4314" actId="20577"/>
        <pc:sldMkLst>
          <pc:docMk/>
          <pc:sldMk cId="3058714685" sldId="262"/>
        </pc:sldMkLst>
        <pc:spChg chg="add mod">
          <ac:chgData name="Ettore Minelli" userId="7870a1ad-01cf-4239-8cce-750deae7f4ef" providerId="ADAL" clId="{92D6CCFE-B354-431A-B56F-EE9654EA6B92}" dt="2022-11-26T14:01:06.938" v="4314" actId="20577"/>
          <ac:spMkLst>
            <pc:docMk/>
            <pc:sldMk cId="3058714685" sldId="262"/>
            <ac:spMk id="10" creationId="{A8B9A07F-58AA-4154-BC1C-F754817AB67F}"/>
          </ac:spMkLst>
        </pc:spChg>
        <pc:spChg chg="mod topLvl">
          <ac:chgData name="Ettore Minelli" userId="7870a1ad-01cf-4239-8cce-750deae7f4ef" providerId="ADAL" clId="{92D6CCFE-B354-431A-B56F-EE9654EA6B92}" dt="2022-11-26T11:21:48.576" v="3340" actId="165"/>
          <ac:spMkLst>
            <pc:docMk/>
            <pc:sldMk cId="3058714685" sldId="262"/>
            <ac:spMk id="12" creationId="{CDA6C5E8-3FA2-4D0F-B774-6D621816754B}"/>
          </ac:spMkLst>
        </pc:spChg>
        <pc:spChg chg="mod topLvl">
          <ac:chgData name="Ettore Minelli" userId="7870a1ad-01cf-4239-8cce-750deae7f4ef" providerId="ADAL" clId="{92D6CCFE-B354-431A-B56F-EE9654EA6B92}" dt="2022-11-26T11:21:48.576" v="3340" actId="165"/>
          <ac:spMkLst>
            <pc:docMk/>
            <pc:sldMk cId="3058714685" sldId="262"/>
            <ac:spMk id="13" creationId="{19C9C38D-9F43-4026-B334-80FE5ADC4728}"/>
          </ac:spMkLst>
        </pc:spChg>
        <pc:spChg chg="mod topLvl">
          <ac:chgData name="Ettore Minelli" userId="7870a1ad-01cf-4239-8cce-750deae7f4ef" providerId="ADAL" clId="{92D6CCFE-B354-431A-B56F-EE9654EA6B92}" dt="2022-11-26T11:57:56.888" v="3387" actId="20577"/>
          <ac:spMkLst>
            <pc:docMk/>
            <pc:sldMk cId="3058714685" sldId="262"/>
            <ac:spMk id="17" creationId="{8114BA6F-3E79-401C-8AE2-7341E4417078}"/>
          </ac:spMkLst>
        </pc:spChg>
        <pc:spChg chg="mod">
          <ac:chgData name="Ettore Minelli" userId="7870a1ad-01cf-4239-8cce-750deae7f4ef" providerId="ADAL" clId="{92D6CCFE-B354-431A-B56F-EE9654EA6B92}" dt="2022-11-26T11:21:48.576" v="3340" actId="165"/>
          <ac:spMkLst>
            <pc:docMk/>
            <pc:sldMk cId="3058714685" sldId="262"/>
            <ac:spMk id="18" creationId="{BC7AEF5A-B285-4879-90D6-54EA46591984}"/>
          </ac:spMkLst>
        </pc:spChg>
        <pc:spChg chg="mod">
          <ac:chgData name="Ettore Minelli" userId="7870a1ad-01cf-4239-8cce-750deae7f4ef" providerId="ADAL" clId="{92D6CCFE-B354-431A-B56F-EE9654EA6B92}" dt="2022-11-26T11:21:48.576" v="3340" actId="165"/>
          <ac:spMkLst>
            <pc:docMk/>
            <pc:sldMk cId="3058714685" sldId="262"/>
            <ac:spMk id="26" creationId="{B8152AC3-BD7B-4D2D-9AF4-271B5FD2D929}"/>
          </ac:spMkLst>
        </pc:spChg>
        <pc:spChg chg="mod topLvl">
          <ac:chgData name="Ettore Minelli" userId="7870a1ad-01cf-4239-8cce-750deae7f4ef" providerId="ADAL" clId="{92D6CCFE-B354-431A-B56F-EE9654EA6B92}" dt="2022-11-26T11:21:57.231" v="3341" actId="1076"/>
          <ac:spMkLst>
            <pc:docMk/>
            <pc:sldMk cId="3058714685" sldId="262"/>
            <ac:spMk id="28" creationId="{4882915A-7D6E-4340-99B6-FEA5D9073EDF}"/>
          </ac:spMkLst>
        </pc:spChg>
        <pc:grpChg chg="add del mod">
          <ac:chgData name="Ettore Minelli" userId="7870a1ad-01cf-4239-8cce-750deae7f4ef" providerId="ADAL" clId="{92D6CCFE-B354-431A-B56F-EE9654EA6B92}" dt="2022-11-26T11:21:48.576" v="3340" actId="165"/>
          <ac:grpSpMkLst>
            <pc:docMk/>
            <pc:sldMk cId="3058714685" sldId="262"/>
            <ac:grpSpMk id="6" creationId="{DC111CF5-423F-4772-A13D-BB418B12D352}"/>
          </ac:grpSpMkLst>
        </pc:grpChg>
        <pc:grpChg chg="del">
          <ac:chgData name="Ettore Minelli" userId="7870a1ad-01cf-4239-8cce-750deae7f4ef" providerId="ADAL" clId="{92D6CCFE-B354-431A-B56F-EE9654EA6B92}" dt="2022-11-26T10:41:36.676" v="3057" actId="478"/>
          <ac:grpSpMkLst>
            <pc:docMk/>
            <pc:sldMk cId="3058714685" sldId="262"/>
            <ac:grpSpMk id="21" creationId="{E58B9321-705A-46FF-B703-5546DEE608A4}"/>
          </ac:grpSpMkLst>
        </pc:grpChg>
        <pc:grpChg chg="mod topLvl">
          <ac:chgData name="Ettore Minelli" userId="7870a1ad-01cf-4239-8cce-750deae7f4ef" providerId="ADAL" clId="{92D6CCFE-B354-431A-B56F-EE9654EA6B92}" dt="2022-11-26T11:21:57.231" v="3341" actId="1076"/>
          <ac:grpSpMkLst>
            <pc:docMk/>
            <pc:sldMk cId="3058714685" sldId="262"/>
            <ac:grpSpMk id="24" creationId="{045C3DDE-1AC3-4B1A-A816-B5B2579FB1C2}"/>
          </ac:grpSpMkLst>
        </pc:grpChg>
        <pc:grpChg chg="mod topLvl">
          <ac:chgData name="Ettore Minelli" userId="7870a1ad-01cf-4239-8cce-750deae7f4ef" providerId="ADAL" clId="{92D6CCFE-B354-431A-B56F-EE9654EA6B92}" dt="2022-11-26T11:21:57.231" v="3341" actId="1076"/>
          <ac:grpSpMkLst>
            <pc:docMk/>
            <pc:sldMk cId="3058714685" sldId="262"/>
            <ac:grpSpMk id="25" creationId="{8097271D-EAAB-4E8E-8AA2-77F1EDCE9549}"/>
          </ac:grpSpMkLst>
        </pc:grpChg>
        <pc:grpChg chg="del">
          <ac:chgData name="Ettore Minelli" userId="7870a1ad-01cf-4239-8cce-750deae7f4ef" providerId="ADAL" clId="{92D6CCFE-B354-431A-B56F-EE9654EA6B92}" dt="2022-11-26T10:41:36.676" v="3057" actId="478"/>
          <ac:grpSpMkLst>
            <pc:docMk/>
            <pc:sldMk cId="3058714685" sldId="262"/>
            <ac:grpSpMk id="40" creationId="{ED72F468-8836-4D4A-9DC8-285232F8A50E}"/>
          </ac:grpSpMkLst>
        </pc:grpChg>
        <pc:picChg chg="mod">
          <ac:chgData name="Ettore Minelli" userId="7870a1ad-01cf-4239-8cce-750deae7f4ef" providerId="ADAL" clId="{92D6CCFE-B354-431A-B56F-EE9654EA6B92}" dt="2022-11-26T11:21:48.576" v="3340" actId="165"/>
          <ac:picMkLst>
            <pc:docMk/>
            <pc:sldMk cId="3058714685" sldId="262"/>
            <ac:picMk id="16" creationId="{75DE56B9-C6AF-410F-9802-51F4A0F37853}"/>
          </ac:picMkLst>
        </pc:picChg>
        <pc:picChg chg="mod">
          <ac:chgData name="Ettore Minelli" userId="7870a1ad-01cf-4239-8cce-750deae7f4ef" providerId="ADAL" clId="{92D6CCFE-B354-431A-B56F-EE9654EA6B92}" dt="2022-11-26T11:21:48.576" v="3340" actId="165"/>
          <ac:picMkLst>
            <pc:docMk/>
            <pc:sldMk cId="3058714685" sldId="262"/>
            <ac:picMk id="27" creationId="{1DECBF84-143B-4FD4-A4A4-6226371367EB}"/>
          </ac:picMkLst>
        </pc:picChg>
        <pc:picChg chg="del">
          <ac:chgData name="Ettore Minelli" userId="7870a1ad-01cf-4239-8cce-750deae7f4ef" providerId="ADAL" clId="{92D6CCFE-B354-431A-B56F-EE9654EA6B92}" dt="2022-11-26T10:41:36.676" v="3057" actId="478"/>
          <ac:picMkLst>
            <pc:docMk/>
            <pc:sldMk cId="3058714685" sldId="262"/>
            <ac:picMk id="49" creationId="{7E29228D-B85A-4BF4-A00D-FA7BC47CC2F9}"/>
          </ac:picMkLst>
        </pc:picChg>
        <pc:picChg chg="add mod">
          <ac:chgData name="Ettore Minelli" userId="7870a1ad-01cf-4239-8cce-750deae7f4ef" providerId="ADAL" clId="{92D6CCFE-B354-431A-B56F-EE9654EA6B92}" dt="2022-11-26T14:00:48.259" v="4298" actId="1076"/>
          <ac:picMkLst>
            <pc:docMk/>
            <pc:sldMk cId="3058714685" sldId="262"/>
            <ac:picMk id="2050" creationId="{9B8D7871-A182-4919-AFF9-E5073A1C2C06}"/>
          </ac:picMkLst>
        </pc:picChg>
      </pc:sldChg>
      <pc:sldChg chg="addSp delSp modSp add mod ord">
        <pc:chgData name="Ettore Minelli" userId="7870a1ad-01cf-4239-8cce-750deae7f4ef" providerId="ADAL" clId="{92D6CCFE-B354-431A-B56F-EE9654EA6B92}" dt="2022-11-26T13:10:41.294" v="3888" actId="1076"/>
        <pc:sldMkLst>
          <pc:docMk/>
          <pc:sldMk cId="1792675274" sldId="263"/>
        </pc:sldMkLst>
        <pc:spChg chg="mod">
          <ac:chgData name="Ettore Minelli" userId="7870a1ad-01cf-4239-8cce-750deae7f4ef" providerId="ADAL" clId="{92D6CCFE-B354-431A-B56F-EE9654EA6B92}" dt="2022-11-26T12:10:10.942" v="3542" actId="1076"/>
          <ac:spMkLst>
            <pc:docMk/>
            <pc:sldMk cId="1792675274" sldId="263"/>
            <ac:spMk id="5" creationId="{B5356F45-3B6A-4C01-B098-687217640885}"/>
          </ac:spMkLst>
        </pc:spChg>
        <pc:spChg chg="add mod">
          <ac:chgData name="Ettore Minelli" userId="7870a1ad-01cf-4239-8cce-750deae7f4ef" providerId="ADAL" clId="{92D6CCFE-B354-431A-B56F-EE9654EA6B92}" dt="2022-11-26T12:50:08.196" v="3717" actId="207"/>
          <ac:spMkLst>
            <pc:docMk/>
            <pc:sldMk cId="1792675274" sldId="263"/>
            <ac:spMk id="6" creationId="{44C76F5B-B672-4894-9DC4-516AC89577FD}"/>
          </ac:spMkLst>
        </pc:spChg>
        <pc:spChg chg="add mod">
          <ac:chgData name="Ettore Minelli" userId="7870a1ad-01cf-4239-8cce-750deae7f4ef" providerId="ADAL" clId="{92D6CCFE-B354-431A-B56F-EE9654EA6B92}" dt="2022-11-26T12:23:46.152" v="3632" actId="113"/>
          <ac:spMkLst>
            <pc:docMk/>
            <pc:sldMk cId="1792675274" sldId="263"/>
            <ac:spMk id="10" creationId="{8A9944B3-727B-4E7C-81F9-FBC1E4D6DF01}"/>
          </ac:spMkLst>
        </pc:spChg>
        <pc:spChg chg="mod">
          <ac:chgData name="Ettore Minelli" userId="7870a1ad-01cf-4239-8cce-750deae7f4ef" providerId="ADAL" clId="{92D6CCFE-B354-431A-B56F-EE9654EA6B92}" dt="2022-11-26T11:50:15.293" v="3352" actId="20577"/>
          <ac:spMkLst>
            <pc:docMk/>
            <pc:sldMk cId="1792675274" sldId="263"/>
            <ac:spMk id="12" creationId="{CDA6C5E8-3FA2-4D0F-B774-6D621816754B}"/>
          </ac:spMkLst>
        </pc:spChg>
        <pc:spChg chg="mod">
          <ac:chgData name="Ettore Minelli" userId="7870a1ad-01cf-4239-8cce-750deae7f4ef" providerId="ADAL" clId="{92D6CCFE-B354-431A-B56F-EE9654EA6B92}" dt="2022-11-26T12:22:35.630" v="3627" actId="20577"/>
          <ac:spMkLst>
            <pc:docMk/>
            <pc:sldMk cId="1792675274" sldId="263"/>
            <ac:spMk id="13" creationId="{19C9C38D-9F43-4026-B334-80FE5ADC4728}"/>
          </ac:spMkLst>
        </pc:spChg>
        <pc:spChg chg="mod">
          <ac:chgData name="Ettore Minelli" userId="7870a1ad-01cf-4239-8cce-750deae7f4ef" providerId="ADAL" clId="{92D6CCFE-B354-431A-B56F-EE9654EA6B92}" dt="2022-11-26T13:10:41.294" v="3888" actId="1076"/>
          <ac:spMkLst>
            <pc:docMk/>
            <pc:sldMk cId="1792675274" sldId="263"/>
            <ac:spMk id="17" creationId="{8114BA6F-3E79-401C-8AE2-7341E4417078}"/>
          </ac:spMkLst>
        </pc:spChg>
        <pc:spChg chg="mod">
          <ac:chgData name="Ettore Minelli" userId="7870a1ad-01cf-4239-8cce-750deae7f4ef" providerId="ADAL" clId="{92D6CCFE-B354-431A-B56F-EE9654EA6B92}" dt="2022-11-26T13:10:41.294" v="3888" actId="1076"/>
          <ac:spMkLst>
            <pc:docMk/>
            <pc:sldMk cId="1792675274" sldId="263"/>
            <ac:spMk id="28" creationId="{4882915A-7D6E-4340-99B6-FEA5D9073EDF}"/>
          </ac:spMkLst>
        </pc:spChg>
        <pc:spChg chg="add mod">
          <ac:chgData name="Ettore Minelli" userId="7870a1ad-01cf-4239-8cce-750deae7f4ef" providerId="ADAL" clId="{92D6CCFE-B354-431A-B56F-EE9654EA6B92}" dt="2022-11-26T12:49:59.034" v="3715" actId="207"/>
          <ac:spMkLst>
            <pc:docMk/>
            <pc:sldMk cId="1792675274" sldId="263"/>
            <ac:spMk id="34" creationId="{9FC2C25F-B5D1-41AE-8D01-E548339EE3C0}"/>
          </ac:spMkLst>
        </pc:spChg>
        <pc:spChg chg="add del mod">
          <ac:chgData name="Ettore Minelli" userId="7870a1ad-01cf-4239-8cce-750deae7f4ef" providerId="ADAL" clId="{92D6CCFE-B354-431A-B56F-EE9654EA6B92}" dt="2022-11-26T12:36:21.637" v="3637" actId="478"/>
          <ac:spMkLst>
            <pc:docMk/>
            <pc:sldMk cId="1792675274" sldId="263"/>
            <ac:spMk id="39" creationId="{8327C874-D326-456C-B02B-ED7E2BFD9A22}"/>
          </ac:spMkLst>
        </pc:spChg>
        <pc:spChg chg="add del mod">
          <ac:chgData name="Ettore Minelli" userId="7870a1ad-01cf-4239-8cce-750deae7f4ef" providerId="ADAL" clId="{92D6CCFE-B354-431A-B56F-EE9654EA6B92}" dt="2022-11-26T12:36:19.963" v="3636" actId="478"/>
          <ac:spMkLst>
            <pc:docMk/>
            <pc:sldMk cId="1792675274" sldId="263"/>
            <ac:spMk id="48" creationId="{71B033D9-3A27-4F8F-91FD-D7D646982977}"/>
          </ac:spMkLst>
        </pc:spChg>
        <pc:spChg chg="add del mod">
          <ac:chgData name="Ettore Minelli" userId="7870a1ad-01cf-4239-8cce-750deae7f4ef" providerId="ADAL" clId="{92D6CCFE-B354-431A-B56F-EE9654EA6B92}" dt="2022-11-26T12:36:23.376" v="3638" actId="478"/>
          <ac:spMkLst>
            <pc:docMk/>
            <pc:sldMk cId="1792675274" sldId="263"/>
            <ac:spMk id="50" creationId="{4638225C-E549-465F-BC05-58AA59EF7FF2}"/>
          </ac:spMkLst>
        </pc:spChg>
        <pc:spChg chg="add del mod">
          <ac:chgData name="Ettore Minelli" userId="7870a1ad-01cf-4239-8cce-750deae7f4ef" providerId="ADAL" clId="{92D6CCFE-B354-431A-B56F-EE9654EA6B92}" dt="2022-11-26T12:36:24.983" v="3640" actId="478"/>
          <ac:spMkLst>
            <pc:docMk/>
            <pc:sldMk cId="1792675274" sldId="263"/>
            <ac:spMk id="51" creationId="{575C88E4-16A9-4524-AE88-9E67A3973346}"/>
          </ac:spMkLst>
        </pc:spChg>
        <pc:spChg chg="add del mod">
          <ac:chgData name="Ettore Minelli" userId="7870a1ad-01cf-4239-8cce-750deae7f4ef" providerId="ADAL" clId="{92D6CCFE-B354-431A-B56F-EE9654EA6B92}" dt="2022-11-26T12:36:26.521" v="3641" actId="478"/>
          <ac:spMkLst>
            <pc:docMk/>
            <pc:sldMk cId="1792675274" sldId="263"/>
            <ac:spMk id="52" creationId="{166B45B1-ED59-47F7-979F-32A8A7667181}"/>
          </ac:spMkLst>
        </pc:spChg>
        <pc:spChg chg="add del mod">
          <ac:chgData name="Ettore Minelli" userId="7870a1ad-01cf-4239-8cce-750deae7f4ef" providerId="ADAL" clId="{92D6CCFE-B354-431A-B56F-EE9654EA6B92}" dt="2022-11-26T12:36:27.918" v="3642" actId="478"/>
          <ac:spMkLst>
            <pc:docMk/>
            <pc:sldMk cId="1792675274" sldId="263"/>
            <ac:spMk id="53" creationId="{B9CDB114-4019-4065-ACAC-0943F721D266}"/>
          </ac:spMkLst>
        </pc:spChg>
        <pc:spChg chg="add mod">
          <ac:chgData name="Ettore Minelli" userId="7870a1ad-01cf-4239-8cce-750deae7f4ef" providerId="ADAL" clId="{92D6CCFE-B354-431A-B56F-EE9654EA6B92}" dt="2022-11-26T12:50:34.416" v="3719" actId="207"/>
          <ac:spMkLst>
            <pc:docMk/>
            <pc:sldMk cId="1792675274" sldId="263"/>
            <ac:spMk id="54" creationId="{D1519E5B-03D0-4A44-B0DC-FDDFE59BB199}"/>
          </ac:spMkLst>
        </pc:spChg>
        <pc:spChg chg="add del mod">
          <ac:chgData name="Ettore Minelli" userId="7870a1ad-01cf-4239-8cce-750deae7f4ef" providerId="ADAL" clId="{92D6CCFE-B354-431A-B56F-EE9654EA6B92}" dt="2022-11-26T12:38:27.789" v="3646" actId="478"/>
          <ac:spMkLst>
            <pc:docMk/>
            <pc:sldMk cId="1792675274" sldId="263"/>
            <ac:spMk id="62" creationId="{2168D6DF-D1AF-49C8-8E51-4C147DD81883}"/>
          </ac:spMkLst>
        </pc:spChg>
        <pc:spChg chg="add del mod">
          <ac:chgData name="Ettore Minelli" userId="7870a1ad-01cf-4239-8cce-750deae7f4ef" providerId="ADAL" clId="{92D6CCFE-B354-431A-B56F-EE9654EA6B92}" dt="2022-11-26T12:41:12.324" v="3676" actId="1076"/>
          <ac:spMkLst>
            <pc:docMk/>
            <pc:sldMk cId="1792675274" sldId="263"/>
            <ac:spMk id="63" creationId="{BFCCC370-1F09-41A4-A854-0C9EC726C102}"/>
          </ac:spMkLst>
        </pc:spChg>
        <pc:spChg chg="add del mod">
          <ac:chgData name="Ettore Minelli" userId="7870a1ad-01cf-4239-8cce-750deae7f4ef" providerId="ADAL" clId="{92D6CCFE-B354-431A-B56F-EE9654EA6B92}" dt="2022-11-26T12:41:12.324" v="3676" actId="1076"/>
          <ac:spMkLst>
            <pc:docMk/>
            <pc:sldMk cId="1792675274" sldId="263"/>
            <ac:spMk id="64" creationId="{EC3BE2F9-3520-4363-BAB3-561C69D5964C}"/>
          </ac:spMkLst>
        </pc:spChg>
        <pc:spChg chg="add del mod">
          <ac:chgData name="Ettore Minelli" userId="7870a1ad-01cf-4239-8cce-750deae7f4ef" providerId="ADAL" clId="{92D6CCFE-B354-431A-B56F-EE9654EA6B92}" dt="2022-11-26T12:40:47.587" v="3669" actId="478"/>
          <ac:spMkLst>
            <pc:docMk/>
            <pc:sldMk cId="1792675274" sldId="263"/>
            <ac:spMk id="65" creationId="{A53FC767-A14B-4006-B9BE-2D7D1D79DFF7}"/>
          </ac:spMkLst>
        </pc:spChg>
        <pc:spChg chg="add del mod">
          <ac:chgData name="Ettore Minelli" userId="7870a1ad-01cf-4239-8cce-750deae7f4ef" providerId="ADAL" clId="{92D6CCFE-B354-431A-B56F-EE9654EA6B92}" dt="2022-11-26T12:40:28.597" v="3666" actId="478"/>
          <ac:spMkLst>
            <pc:docMk/>
            <pc:sldMk cId="1792675274" sldId="263"/>
            <ac:spMk id="66" creationId="{03783C38-B657-4485-9FFB-255E7D5883FF}"/>
          </ac:spMkLst>
        </pc:spChg>
        <pc:spChg chg="add del mod">
          <ac:chgData name="Ettore Minelli" userId="7870a1ad-01cf-4239-8cce-750deae7f4ef" providerId="ADAL" clId="{92D6CCFE-B354-431A-B56F-EE9654EA6B92}" dt="2022-11-26T12:40:47.587" v="3669" actId="478"/>
          <ac:spMkLst>
            <pc:docMk/>
            <pc:sldMk cId="1792675274" sldId="263"/>
            <ac:spMk id="67" creationId="{7C793942-40D8-4AA5-9971-D0EF6E2FF520}"/>
          </ac:spMkLst>
        </pc:spChg>
        <pc:spChg chg="add mod">
          <ac:chgData name="Ettore Minelli" userId="7870a1ad-01cf-4239-8cce-750deae7f4ef" providerId="ADAL" clId="{92D6CCFE-B354-431A-B56F-EE9654EA6B92}" dt="2022-11-26T12:50:25.250" v="3718" actId="207"/>
          <ac:spMkLst>
            <pc:docMk/>
            <pc:sldMk cId="1792675274" sldId="263"/>
            <ac:spMk id="68" creationId="{175247B5-0FB1-4D33-9E24-D83B5565611E}"/>
          </ac:spMkLst>
        </pc:spChg>
        <pc:spChg chg="add mod">
          <ac:chgData name="Ettore Minelli" userId="7870a1ad-01cf-4239-8cce-750deae7f4ef" providerId="ADAL" clId="{92D6CCFE-B354-431A-B56F-EE9654EA6B92}" dt="2022-11-26T12:50:25.250" v="3718" actId="207"/>
          <ac:spMkLst>
            <pc:docMk/>
            <pc:sldMk cId="1792675274" sldId="263"/>
            <ac:spMk id="69" creationId="{0460ED7C-8660-4255-B2B3-A243BE337453}"/>
          </ac:spMkLst>
        </pc:spChg>
        <pc:spChg chg="add mod">
          <ac:chgData name="Ettore Minelli" userId="7870a1ad-01cf-4239-8cce-750deae7f4ef" providerId="ADAL" clId="{92D6CCFE-B354-431A-B56F-EE9654EA6B92}" dt="2022-11-26T12:50:25.250" v="3718" actId="207"/>
          <ac:spMkLst>
            <pc:docMk/>
            <pc:sldMk cId="1792675274" sldId="263"/>
            <ac:spMk id="70" creationId="{D32BF312-568A-4EB9-939C-DDB3BEFEBC8A}"/>
          </ac:spMkLst>
        </pc:spChg>
        <pc:spChg chg="add mod">
          <ac:chgData name="Ettore Minelli" userId="7870a1ad-01cf-4239-8cce-750deae7f4ef" providerId="ADAL" clId="{92D6CCFE-B354-431A-B56F-EE9654EA6B92}" dt="2022-11-26T12:50:25.250" v="3718" actId="207"/>
          <ac:spMkLst>
            <pc:docMk/>
            <pc:sldMk cId="1792675274" sldId="263"/>
            <ac:spMk id="71" creationId="{25995C2E-80D7-4DBB-89B7-F52F04657F98}"/>
          </ac:spMkLst>
        </pc:spChg>
        <pc:grpChg chg="del">
          <ac:chgData name="Ettore Minelli" userId="7870a1ad-01cf-4239-8cce-750deae7f4ef" providerId="ADAL" clId="{92D6CCFE-B354-431A-B56F-EE9654EA6B92}" dt="2022-11-26T11:50:27.774" v="3354" actId="478"/>
          <ac:grpSpMkLst>
            <pc:docMk/>
            <pc:sldMk cId="1792675274" sldId="263"/>
            <ac:grpSpMk id="21" creationId="{E58B9321-705A-46FF-B703-5546DEE608A4}"/>
          </ac:grpSpMkLst>
        </pc:grpChg>
        <pc:grpChg chg="mod">
          <ac:chgData name="Ettore Minelli" userId="7870a1ad-01cf-4239-8cce-750deae7f4ef" providerId="ADAL" clId="{92D6CCFE-B354-431A-B56F-EE9654EA6B92}" dt="2022-11-26T13:10:41.294" v="3888" actId="1076"/>
          <ac:grpSpMkLst>
            <pc:docMk/>
            <pc:sldMk cId="1792675274" sldId="263"/>
            <ac:grpSpMk id="24" creationId="{045C3DDE-1AC3-4B1A-A816-B5B2579FB1C2}"/>
          </ac:grpSpMkLst>
        </pc:grpChg>
        <pc:grpChg chg="mod">
          <ac:chgData name="Ettore Minelli" userId="7870a1ad-01cf-4239-8cce-750deae7f4ef" providerId="ADAL" clId="{92D6CCFE-B354-431A-B56F-EE9654EA6B92}" dt="2022-11-26T13:10:41.294" v="3888" actId="1076"/>
          <ac:grpSpMkLst>
            <pc:docMk/>
            <pc:sldMk cId="1792675274" sldId="263"/>
            <ac:grpSpMk id="25" creationId="{8097271D-EAAB-4E8E-8AA2-77F1EDCE9549}"/>
          </ac:grpSpMkLst>
        </pc:grpChg>
        <pc:grpChg chg="del">
          <ac:chgData name="Ettore Minelli" userId="7870a1ad-01cf-4239-8cce-750deae7f4ef" providerId="ADAL" clId="{92D6CCFE-B354-431A-B56F-EE9654EA6B92}" dt="2022-11-26T11:50:23.363" v="3353" actId="478"/>
          <ac:grpSpMkLst>
            <pc:docMk/>
            <pc:sldMk cId="1792675274" sldId="263"/>
            <ac:grpSpMk id="40" creationId="{ED72F468-8836-4D4A-9DC8-285232F8A50E}"/>
          </ac:grpSpMkLst>
        </pc:grpChg>
        <pc:picChg chg="del">
          <ac:chgData name="Ettore Minelli" userId="7870a1ad-01cf-4239-8cce-750deae7f4ef" providerId="ADAL" clId="{92D6CCFE-B354-431A-B56F-EE9654EA6B92}" dt="2022-11-26T11:50:27.774" v="3354" actId="478"/>
          <ac:picMkLst>
            <pc:docMk/>
            <pc:sldMk cId="1792675274" sldId="263"/>
            <ac:picMk id="49" creationId="{7E29228D-B85A-4BF4-A00D-FA7BC47CC2F9}"/>
          </ac:picMkLst>
        </pc:picChg>
        <pc:cxnChg chg="add del mod">
          <ac:chgData name="Ettore Minelli" userId="7870a1ad-01cf-4239-8cce-750deae7f4ef" providerId="ADAL" clId="{92D6CCFE-B354-431A-B56F-EE9654EA6B92}" dt="2022-11-26T12:15:31.115" v="3589" actId="478"/>
          <ac:cxnSpMkLst>
            <pc:docMk/>
            <pc:sldMk cId="1792675274" sldId="263"/>
            <ac:cxnSpMk id="15" creationId="{7A4D247D-13EE-48D1-9E64-2E355653460B}"/>
          </ac:cxnSpMkLst>
        </pc:cxnChg>
        <pc:cxnChg chg="add del">
          <ac:chgData name="Ettore Minelli" userId="7870a1ad-01cf-4239-8cce-750deae7f4ef" providerId="ADAL" clId="{92D6CCFE-B354-431A-B56F-EE9654EA6B92}" dt="2022-11-26T12:12:49.437" v="3566" actId="478"/>
          <ac:cxnSpMkLst>
            <pc:docMk/>
            <pc:sldMk cId="1792675274" sldId="263"/>
            <ac:cxnSpMk id="32" creationId="{42351D3A-6D1C-4947-ADF5-15205A355992}"/>
          </ac:cxnSpMkLst>
        </pc:cxnChg>
        <pc:cxnChg chg="add del mod">
          <ac:chgData name="Ettore Minelli" userId="7870a1ad-01cf-4239-8cce-750deae7f4ef" providerId="ADAL" clId="{92D6CCFE-B354-431A-B56F-EE9654EA6B92}" dt="2022-11-26T12:15:28.931" v="3588" actId="478"/>
          <ac:cxnSpMkLst>
            <pc:docMk/>
            <pc:sldMk cId="1792675274" sldId="263"/>
            <ac:cxnSpMk id="35" creationId="{7F2CD589-6F82-42F4-A60D-DB1B37805940}"/>
          </ac:cxnSpMkLst>
        </pc:cxnChg>
        <pc:cxnChg chg="add del mod">
          <ac:chgData name="Ettore Minelli" userId="7870a1ad-01cf-4239-8cce-750deae7f4ef" providerId="ADAL" clId="{92D6CCFE-B354-431A-B56F-EE9654EA6B92}" dt="2022-11-26T12:14:18.233" v="3573" actId="478"/>
          <ac:cxnSpMkLst>
            <pc:docMk/>
            <pc:sldMk cId="1792675274" sldId="263"/>
            <ac:cxnSpMk id="37" creationId="{37208976-9E2B-4EB1-B1E0-6699DD926B31}"/>
          </ac:cxnSpMkLst>
        </pc:cxnChg>
        <pc:cxnChg chg="add del mod">
          <ac:chgData name="Ettore Minelli" userId="7870a1ad-01cf-4239-8cce-750deae7f4ef" providerId="ADAL" clId="{92D6CCFE-B354-431A-B56F-EE9654EA6B92}" dt="2022-11-26T12:21:09.969" v="3618" actId="11529"/>
          <ac:cxnSpMkLst>
            <pc:docMk/>
            <pc:sldMk cId="1792675274" sldId="263"/>
            <ac:cxnSpMk id="55" creationId="{C3C842B9-1648-4B84-A57E-F5278FE8779F}"/>
          </ac:cxnSpMkLst>
        </pc:cxnChg>
        <pc:cxnChg chg="add del mod">
          <ac:chgData name="Ettore Minelli" userId="7870a1ad-01cf-4239-8cce-750deae7f4ef" providerId="ADAL" clId="{92D6CCFE-B354-431A-B56F-EE9654EA6B92}" dt="2022-11-26T12:19:57.501" v="3607" actId="11529"/>
          <ac:cxnSpMkLst>
            <pc:docMk/>
            <pc:sldMk cId="1792675274" sldId="263"/>
            <ac:cxnSpMk id="58" creationId="{51694C0B-E94F-4D5F-A8F4-A544017C7205}"/>
          </ac:cxnSpMkLst>
        </pc:cxnChg>
        <pc:cxnChg chg="add del mod">
          <ac:chgData name="Ettore Minelli" userId="7870a1ad-01cf-4239-8cce-750deae7f4ef" providerId="ADAL" clId="{92D6CCFE-B354-431A-B56F-EE9654EA6B92}" dt="2022-11-26T12:21:08.626" v="3615" actId="11529"/>
          <ac:cxnSpMkLst>
            <pc:docMk/>
            <pc:sldMk cId="1792675274" sldId="263"/>
            <ac:cxnSpMk id="60" creationId="{6D0BCCC7-C974-4A7F-8C8A-405C0E01D832}"/>
          </ac:cxnSpMkLst>
        </pc:cxnChg>
        <pc:cxnChg chg="add del mod">
          <ac:chgData name="Ettore Minelli" userId="7870a1ad-01cf-4239-8cce-750deae7f4ef" providerId="ADAL" clId="{92D6CCFE-B354-431A-B56F-EE9654EA6B92}" dt="2022-11-26T12:44:56.319" v="3712" actId="478"/>
          <ac:cxnSpMkLst>
            <pc:docMk/>
            <pc:sldMk cId="1792675274" sldId="263"/>
            <ac:cxnSpMk id="73" creationId="{B366419A-B9E1-4282-8EDC-A29B146F4714}"/>
          </ac:cxnSpMkLst>
        </pc:cxnChg>
      </pc:sldChg>
      <pc:sldChg chg="addSp delSp modSp add mod ord">
        <pc:chgData name="Ettore Minelli" userId="7870a1ad-01cf-4239-8cce-750deae7f4ef" providerId="ADAL" clId="{92D6CCFE-B354-431A-B56F-EE9654EA6B92}" dt="2022-11-26T13:59:25.699" v="4295" actId="20577"/>
        <pc:sldMkLst>
          <pc:docMk/>
          <pc:sldMk cId="4262841277" sldId="264"/>
        </pc:sldMkLst>
        <pc:spChg chg="add mod">
          <ac:chgData name="Ettore Minelli" userId="7870a1ad-01cf-4239-8cce-750deae7f4ef" providerId="ADAL" clId="{92D6CCFE-B354-431A-B56F-EE9654EA6B92}" dt="2022-11-26T13:59:25.699" v="4295" actId="20577"/>
          <ac:spMkLst>
            <pc:docMk/>
            <pc:sldMk cId="4262841277" sldId="264"/>
            <ac:spMk id="3" creationId="{EF2BFC43-1602-4150-9A4A-F79DE9CF025D}"/>
          </ac:spMkLst>
        </pc:spChg>
        <pc:spChg chg="add mod">
          <ac:chgData name="Ettore Minelli" userId="7870a1ad-01cf-4239-8cce-750deae7f4ef" providerId="ADAL" clId="{92D6CCFE-B354-431A-B56F-EE9654EA6B92}" dt="2022-11-26T13:51:32.862" v="4221" actId="408"/>
          <ac:spMkLst>
            <pc:docMk/>
            <pc:sldMk cId="4262841277" sldId="264"/>
            <ac:spMk id="10" creationId="{8C8EF5F5-5E58-4C78-85B8-E29D1E327D2A}"/>
          </ac:spMkLst>
        </pc:spChg>
        <pc:spChg chg="add mod">
          <ac:chgData name="Ettore Minelli" userId="7870a1ad-01cf-4239-8cce-750deae7f4ef" providerId="ADAL" clId="{92D6CCFE-B354-431A-B56F-EE9654EA6B92}" dt="2022-11-26T13:51:22.576" v="4220" actId="14100"/>
          <ac:spMkLst>
            <pc:docMk/>
            <pc:sldMk cId="4262841277" sldId="264"/>
            <ac:spMk id="11" creationId="{1E1010A8-CD26-45C9-AA9D-19458DF52027}"/>
          </ac:spMkLst>
        </pc:spChg>
        <pc:spChg chg="mod">
          <ac:chgData name="Ettore Minelli" userId="7870a1ad-01cf-4239-8cce-750deae7f4ef" providerId="ADAL" clId="{92D6CCFE-B354-431A-B56F-EE9654EA6B92}" dt="2022-11-26T13:29:47.025" v="3920" actId="20577"/>
          <ac:spMkLst>
            <pc:docMk/>
            <pc:sldMk cId="4262841277" sldId="264"/>
            <ac:spMk id="15" creationId="{B7451947-7F4E-4A85-9685-23A16CBD9C8F}"/>
          </ac:spMkLst>
        </pc:spChg>
        <pc:spChg chg="add del mod">
          <ac:chgData name="Ettore Minelli" userId="7870a1ad-01cf-4239-8cce-750deae7f4ef" providerId="ADAL" clId="{92D6CCFE-B354-431A-B56F-EE9654EA6B92}" dt="2022-11-26T13:51:22.576" v="4220" actId="14100"/>
          <ac:spMkLst>
            <pc:docMk/>
            <pc:sldMk cId="4262841277" sldId="264"/>
            <ac:spMk id="21" creationId="{D524631F-3D7A-4852-BE5B-DB3070DBA0A1}"/>
          </ac:spMkLst>
        </pc:spChg>
        <pc:spChg chg="del">
          <ac:chgData name="Ettore Minelli" userId="7870a1ad-01cf-4239-8cce-750deae7f4ef" providerId="ADAL" clId="{92D6CCFE-B354-431A-B56F-EE9654EA6B92}" dt="2022-11-26T13:49:44.087" v="4125" actId="478"/>
          <ac:spMkLst>
            <pc:docMk/>
            <pc:sldMk cId="4262841277" sldId="264"/>
            <ac:spMk id="26" creationId="{4B468443-7803-4792-BCBD-5F0EC97F8820}"/>
          </ac:spMkLst>
        </pc:spChg>
        <pc:graphicFrameChg chg="add mod modGraphic">
          <ac:chgData name="Ettore Minelli" userId="7870a1ad-01cf-4239-8cce-750deae7f4ef" providerId="ADAL" clId="{92D6CCFE-B354-431A-B56F-EE9654EA6B92}" dt="2022-11-26T13:59:02.705" v="4238" actId="339"/>
          <ac:graphicFrameMkLst>
            <pc:docMk/>
            <pc:sldMk cId="4262841277" sldId="264"/>
            <ac:graphicFrameMk id="2" creationId="{8DC3A195-C411-4681-ABCC-DA3EF8131AA0}"/>
          </ac:graphicFrameMkLst>
        </pc:graphicFrameChg>
      </pc:sldChg>
      <pc:sldChg chg="addSp new add mod">
        <pc:chgData name="Ettore Minelli" userId="7870a1ad-01cf-4239-8cce-750deae7f4ef" providerId="ADAL" clId="{92D6CCFE-B354-431A-B56F-EE9654EA6B92}" dt="2022-11-26T13:56:26.183" v="4225"/>
        <pc:sldMkLst>
          <pc:docMk/>
          <pc:sldMk cId="4159522812" sldId="265"/>
        </pc:sldMkLst>
        <pc:picChg chg="add">
          <ac:chgData name="Ettore Minelli" userId="7870a1ad-01cf-4239-8cce-750deae7f4ef" providerId="ADAL" clId="{92D6CCFE-B354-431A-B56F-EE9654EA6B92}" dt="2022-11-26T13:56:26.183" v="4225"/>
          <ac:picMkLst>
            <pc:docMk/>
            <pc:sldMk cId="4159522812" sldId="265"/>
            <ac:picMk id="3" creationId="{6624D072-C946-4937-A210-475BA8321B2C}"/>
          </ac:picMkLst>
        </pc:picChg>
      </pc:sldChg>
      <pc:sldChg chg="addSp delSp modSp add mod">
        <pc:chgData name="Ettore Minelli" userId="7870a1ad-01cf-4239-8cce-750deae7f4ef" providerId="ADAL" clId="{92D6CCFE-B354-431A-B56F-EE9654EA6B92}" dt="2022-11-26T14:12:51.631" v="4500" actId="1076"/>
        <pc:sldMkLst>
          <pc:docMk/>
          <pc:sldMk cId="3998020086" sldId="266"/>
        </pc:sldMkLst>
        <pc:spChg chg="del">
          <ac:chgData name="Ettore Minelli" userId="7870a1ad-01cf-4239-8cce-750deae7f4ef" providerId="ADAL" clId="{92D6CCFE-B354-431A-B56F-EE9654EA6B92}" dt="2022-11-26T14:12:36.640" v="4495" actId="478"/>
          <ac:spMkLst>
            <pc:docMk/>
            <pc:sldMk cId="3998020086" sldId="266"/>
            <ac:spMk id="3" creationId="{EF2BFC43-1602-4150-9A4A-F79DE9CF025D}"/>
          </ac:spMkLst>
        </pc:spChg>
        <pc:spChg chg="del">
          <ac:chgData name="Ettore Minelli" userId="7870a1ad-01cf-4239-8cce-750deae7f4ef" providerId="ADAL" clId="{92D6CCFE-B354-431A-B56F-EE9654EA6B92}" dt="2022-11-26T14:12:36.640" v="4495" actId="478"/>
          <ac:spMkLst>
            <pc:docMk/>
            <pc:sldMk cId="3998020086" sldId="266"/>
            <ac:spMk id="10" creationId="{8C8EF5F5-5E58-4C78-85B8-E29D1E327D2A}"/>
          </ac:spMkLst>
        </pc:spChg>
        <pc:spChg chg="del">
          <ac:chgData name="Ettore Minelli" userId="7870a1ad-01cf-4239-8cce-750deae7f4ef" providerId="ADAL" clId="{92D6CCFE-B354-431A-B56F-EE9654EA6B92}" dt="2022-11-26T14:12:36.640" v="4495" actId="478"/>
          <ac:spMkLst>
            <pc:docMk/>
            <pc:sldMk cId="3998020086" sldId="266"/>
            <ac:spMk id="11" creationId="{1E1010A8-CD26-45C9-AA9D-19458DF52027}"/>
          </ac:spMkLst>
        </pc:spChg>
        <pc:spChg chg="del">
          <ac:chgData name="Ettore Minelli" userId="7870a1ad-01cf-4239-8cce-750deae7f4ef" providerId="ADAL" clId="{92D6CCFE-B354-431A-B56F-EE9654EA6B92}" dt="2022-11-26T14:12:42.175" v="4496" actId="478"/>
          <ac:spMkLst>
            <pc:docMk/>
            <pc:sldMk cId="3998020086" sldId="266"/>
            <ac:spMk id="15" creationId="{B7451947-7F4E-4A85-9685-23A16CBD9C8F}"/>
          </ac:spMkLst>
        </pc:spChg>
        <pc:spChg chg="del">
          <ac:chgData name="Ettore Minelli" userId="7870a1ad-01cf-4239-8cce-750deae7f4ef" providerId="ADAL" clId="{92D6CCFE-B354-431A-B56F-EE9654EA6B92}" dt="2022-11-26T14:12:42.175" v="4496" actId="478"/>
          <ac:spMkLst>
            <pc:docMk/>
            <pc:sldMk cId="3998020086" sldId="266"/>
            <ac:spMk id="21" creationId="{D524631F-3D7A-4852-BE5B-DB3070DBA0A1}"/>
          </ac:spMkLst>
        </pc:spChg>
        <pc:graphicFrameChg chg="del">
          <ac:chgData name="Ettore Minelli" userId="7870a1ad-01cf-4239-8cce-750deae7f4ef" providerId="ADAL" clId="{92D6CCFE-B354-431A-B56F-EE9654EA6B92}" dt="2022-11-26T14:12:36.640" v="4495" actId="478"/>
          <ac:graphicFrameMkLst>
            <pc:docMk/>
            <pc:sldMk cId="3998020086" sldId="266"/>
            <ac:graphicFrameMk id="2" creationId="{8DC3A195-C411-4681-ABCC-DA3EF8131AA0}"/>
          </ac:graphicFrameMkLst>
        </pc:graphicFrameChg>
        <pc:picChg chg="add mod modCrop">
          <ac:chgData name="Ettore Minelli" userId="7870a1ad-01cf-4239-8cce-750deae7f4ef" providerId="ADAL" clId="{92D6CCFE-B354-431A-B56F-EE9654EA6B92}" dt="2022-11-26T14:12:51.631" v="4500" actId="1076"/>
          <ac:picMkLst>
            <pc:docMk/>
            <pc:sldMk cId="3998020086" sldId="266"/>
            <ac:picMk id="12" creationId="{F78CA694-63E0-469D-9D26-3D175E6F1A4D}"/>
          </ac:picMkLst>
        </pc:picChg>
      </pc:sldChg>
      <pc:sldMasterChg chg="addSp delSp modSp mod">
        <pc:chgData name="Ettore Minelli" userId="7870a1ad-01cf-4239-8cce-750deae7f4ef" providerId="ADAL" clId="{92D6CCFE-B354-431A-B56F-EE9654EA6B92}" dt="2022-11-21T08:10:50.434" v="59"/>
        <pc:sldMasterMkLst>
          <pc:docMk/>
          <pc:sldMasterMk cId="2091924134" sldId="2147483648"/>
        </pc:sldMasterMkLst>
        <pc:spChg chg="mod">
          <ac:chgData name="Ettore Minelli" userId="7870a1ad-01cf-4239-8cce-750deae7f4ef" providerId="ADAL" clId="{92D6CCFE-B354-431A-B56F-EE9654EA6B92}" dt="2022-11-21T08:10:49.821" v="3" actId="948"/>
          <ac:spMkLst>
            <pc:docMk/>
            <pc:sldMasterMk cId="2091924134" sldId="2147483648"/>
            <ac:spMk id="2" creationId="{A8F8EE9C-92B3-4640-9428-76A250E4F32F}"/>
          </ac:spMkLst>
        </pc:spChg>
        <pc:spChg chg="add del mod modVis">
          <ac:chgData name="Ettore Minelli" userId="7870a1ad-01cf-4239-8cce-750deae7f4ef" providerId="ADAL" clId="{92D6CCFE-B354-431A-B56F-EE9654EA6B92}" dt="2022-11-21T08:10:50.213" v="43"/>
          <ac:spMkLst>
            <pc:docMk/>
            <pc:sldMasterMk cId="2091924134" sldId="2147483648"/>
            <ac:spMk id="7" creationId="{3B0B8193-5D13-46E3-95DB-DA3536BEF2F6}"/>
          </ac:spMkLst>
        </pc:spChg>
        <pc:graphicFrameChg chg="add mod ord modVis replST">
          <ac:chgData name="Ettore Minelli" userId="7870a1ad-01cf-4239-8cce-750deae7f4ef" providerId="ADAL" clId="{92D6CCFE-B354-431A-B56F-EE9654EA6B92}" dt="2022-11-21T08:10:50.434" v="59"/>
          <ac:graphicFrameMkLst>
            <pc:docMk/>
            <pc:sldMasterMk cId="2091924134" sldId="2147483648"/>
            <ac:graphicFrameMk id="8" creationId="{D338EE01-9F2D-4111-B573-3C5FFFC742E5}"/>
          </ac:graphicFrameMkLst>
        </pc:graphicFrame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7BFE12-528A-4365-A73E-AC401AF8B557}" type="datetimeFigureOut">
              <a:rPr lang="it-IT" smtClean="0"/>
              <a:t>26/11/2022</a:t>
            </a:fld>
            <a:endParaRPr lang="it-I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AA8A6A-BFDC-41FB-92BD-6DD4916057DE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986234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A8A6A-BFDC-41FB-92BD-6DD4916057DE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574088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A8A6A-BFDC-41FB-92BD-6DD4916057DE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088228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A8A6A-BFDC-41FB-92BD-6DD4916057DE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440936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A8A6A-BFDC-41FB-92BD-6DD4916057DE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47502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A8A6A-BFDC-41FB-92BD-6DD4916057DE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948698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A8A6A-BFDC-41FB-92BD-6DD4916057DE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504726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A8A6A-BFDC-41FB-92BD-6DD4916057DE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060925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A8A6A-BFDC-41FB-92BD-6DD4916057DE}" type="slidenum">
              <a:rPr lang="it-IT" smtClean="0"/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900072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F686C9-C2EF-425F-858F-800A8DCB3F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463F425-F29B-4F3C-A8F8-6F8F785884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B847EE-7D56-4FDB-9C98-2F5F9A9C27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FE006-0E61-49A7-BD95-6F8B94CA1644}" type="datetimeFigureOut">
              <a:rPr lang="it-IT" smtClean="0"/>
              <a:t>26/11/2022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F43E4C-146E-4799-95FF-44711A42D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4C77EE-8815-48E3-B26F-948AD5F893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08799-416B-4F0D-B912-CD6A19EF61E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53061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C01ACA-4BDD-4229-9A11-A087C4C53D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0D8C568-94F5-47F7-B64D-FEE5D5303A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F396B0-5BC0-4163-A742-EF31E1BC98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FE006-0E61-49A7-BD95-6F8B94CA1644}" type="datetimeFigureOut">
              <a:rPr lang="it-IT" smtClean="0"/>
              <a:t>26/11/2022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FB653-3197-450A-B0C3-7790A2B448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1F81C6-CFA4-4CF6-B2B4-85CA3426F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08799-416B-4F0D-B912-CD6A19EF61E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218994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5DC5BF1-1B0B-4CAB-899A-06030B63796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4B2804A-5A5F-484C-9221-6948D91865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95E82E-5174-4575-B73F-629ABCF36C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FE006-0E61-49A7-BD95-6F8B94CA1644}" type="datetimeFigureOut">
              <a:rPr lang="it-IT" smtClean="0"/>
              <a:t>26/11/2022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3BCEDF-A0CA-42F1-A59B-F31069E442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29C592-1F71-4621-904F-1B5F0D005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08799-416B-4F0D-B912-CD6A19EF61E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66293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F0F1CB-8B6A-4165-9326-664DA28278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CC1FC2-32E4-4D47-895C-86306FE811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9D401F-6F35-480C-B1FE-8905340577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FE006-0E61-49A7-BD95-6F8B94CA1644}" type="datetimeFigureOut">
              <a:rPr lang="it-IT" smtClean="0"/>
              <a:t>26/11/2022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0DCC4A-5FFA-4DDC-AFDF-B6BCBBC4DC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E2F322-33EF-47FA-81CE-DE2D081296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08799-416B-4F0D-B912-CD6A19EF61E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17909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687440-5547-4556-996E-BDC1359051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818D10-E5F3-4300-B3A0-758C7F802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444B6D-850C-4732-A518-584B346684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FE006-0E61-49A7-BD95-6F8B94CA1644}" type="datetimeFigureOut">
              <a:rPr lang="it-IT" smtClean="0"/>
              <a:t>26/11/2022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7291C8-3769-4C52-B871-A2CB347D2D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9C7CF4-D756-4AFD-B731-E3AFD67B03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08799-416B-4F0D-B912-CD6A19EF61E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116378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D00AD8-4448-4562-83F8-681A3FB60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7B31B1-0F35-4C1D-BBA2-C643C7F6CC0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A7C46DA-E1E3-44DB-8EE3-2A136D55A2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391A75-67C0-421E-9479-22C2A4405C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FE006-0E61-49A7-BD95-6F8B94CA1644}" type="datetimeFigureOut">
              <a:rPr lang="it-IT" smtClean="0"/>
              <a:t>26/11/2022</a:t>
            </a:fld>
            <a:endParaRPr lang="it-I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C4C208-8C14-445C-93E7-F69B9183AA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41F90E-5DE2-404B-8861-57C231426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08799-416B-4F0D-B912-CD6A19EF61E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29447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CD7E55-D3C1-47F4-8435-44E97D2032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78E833-2EFC-445A-A539-05B8861B4C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756A5C0-1835-4821-9B6D-FFF1C0CD78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120087E-65AB-4370-A6C9-8456871E91B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9291E39-F8B6-429B-8E75-7AFA5766812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4DF633F-0B11-4660-BA39-92CD952B8D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FE006-0E61-49A7-BD95-6F8B94CA1644}" type="datetimeFigureOut">
              <a:rPr lang="it-IT" smtClean="0"/>
              <a:t>26/11/2022</a:t>
            </a:fld>
            <a:endParaRPr lang="it-IT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8C7F1F-6109-4036-B8D0-F557A79103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663F08A-CBD9-4152-A671-BCF5B2682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08799-416B-4F0D-B912-CD6A19EF61E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811431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FCD8CB-85C7-49B1-AF6F-7CC9BACD2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FA0F30E-E4B9-4679-A7B9-6834E0FEE3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FE006-0E61-49A7-BD95-6F8B94CA1644}" type="datetimeFigureOut">
              <a:rPr lang="it-IT" smtClean="0"/>
              <a:t>26/11/2022</a:t>
            </a:fld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3E555-19C7-4EEE-9545-C4BBE2E346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EB4081-8CC6-4F83-81A2-FCF37D0FCB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08799-416B-4F0D-B912-CD6A19EF61E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923711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919D563-4BAC-4EA6-B6E7-F09FCC77D9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FE006-0E61-49A7-BD95-6F8B94CA1644}" type="datetimeFigureOut">
              <a:rPr lang="it-IT" smtClean="0"/>
              <a:t>26/11/2022</a:t>
            </a:fld>
            <a:endParaRPr lang="it-I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6669E42-56D4-4F3C-8AC1-4EBF5B65CD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CCAB2C-0257-4590-BA37-D7E58936AC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08799-416B-4F0D-B912-CD6A19EF61E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767435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D24315-F1E3-4AED-9FC4-D2ABD225E1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4F75AC-AE25-4E23-83CF-C1914E195F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330CC7-2891-41C6-B055-5B316445F8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14D106-AEBF-4367-92D1-30D132711D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FE006-0E61-49A7-BD95-6F8B94CA1644}" type="datetimeFigureOut">
              <a:rPr lang="it-IT" smtClean="0"/>
              <a:t>26/11/2022</a:t>
            </a:fld>
            <a:endParaRPr lang="it-I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C04C0B-2EA0-4704-BF49-0C8514B7CB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7D61F5D-080F-4031-BD2F-5ECF02600E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08799-416B-4F0D-B912-CD6A19EF61E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206301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3F1181-0153-4941-AC41-97E9DD2F49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ADA4EEB-BA8D-44E6-AFEA-022530DE73B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BF48AB-2F88-4350-97F5-4E9A0096A4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B5485F-2B2D-467F-85D8-4180789DC0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FE006-0E61-49A7-BD95-6F8B94CA1644}" type="datetimeFigureOut">
              <a:rPr lang="it-IT" smtClean="0"/>
              <a:t>26/11/2022</a:t>
            </a:fld>
            <a:endParaRPr lang="it-I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ABAD26-26C3-438C-A4D5-43E04A55C4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180E91-D3EC-4B69-A8D9-4F0679770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08799-416B-4F0D-B912-CD6A19EF61E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259260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338EE01-9F2D-4111-B573-3C5FFFC742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205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6" progId="TCLayout.ActiveDocument.1">
                  <p:embed/>
                </p:oleObj>
              </mc:Choice>
              <mc:Fallback>
                <p:oleObj name="think-cell Slide" r:id="rId14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338EE01-9F2D-4111-B573-3C5FFFC74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F8EE9C-92B3-4640-9428-76A250E4F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426D2C-039B-493C-B03C-E86E7E1948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5F922D-2707-4770-BA6E-5B38B7F946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CFE006-0E61-49A7-BD95-6F8B94CA1644}" type="datetimeFigureOut">
              <a:rPr lang="it-IT" smtClean="0"/>
              <a:t>26/11/2022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849538-6EE5-49CD-BF85-41C8315E8D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0AFC1D-0425-4745-8815-1682A4F14F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008799-416B-4F0D-B912-CD6A19EF61E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91924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1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11" Type="http://schemas.openxmlformats.org/officeDocument/2006/relationships/image" Target="../media/image6.png"/><Relationship Id="rId5" Type="http://schemas.openxmlformats.org/officeDocument/2006/relationships/image" Target="../media/image1.emf"/><Relationship Id="rId10" Type="http://schemas.openxmlformats.org/officeDocument/2006/relationships/image" Target="../media/image5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4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0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microsoft.com/office/2017/06/relationships/model3d" Target="../media/model3d1.glb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BB466E-31F0-4F06-B874-1C7B729BC6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5507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BB466E-31F0-4F06-B874-1C7B729BC6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B5356F45-3B6A-4C01-B098-687217640885}"/>
              </a:ext>
            </a:extLst>
          </p:cNvPr>
          <p:cNvSpPr/>
          <p:nvPr/>
        </p:nvSpPr>
        <p:spPr>
          <a:xfrm>
            <a:off x="0" y="-19594"/>
            <a:ext cx="12192000" cy="764771"/>
          </a:xfrm>
          <a:prstGeom prst="rect">
            <a:avLst/>
          </a:prstGeom>
          <a:solidFill>
            <a:srgbClr val="223A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5FA16E-9196-4C66-B602-E8DAD1AE22D7}"/>
              </a:ext>
            </a:extLst>
          </p:cNvPr>
          <p:cNvSpPr/>
          <p:nvPr/>
        </p:nvSpPr>
        <p:spPr>
          <a:xfrm>
            <a:off x="0" y="0"/>
            <a:ext cx="1489435" cy="76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err="1">
                <a:latin typeface="Inter" panose="02000503000000020004" pitchFamily="2" charset="0"/>
                <a:ea typeface="Inter" panose="02000503000000020004" pitchFamily="2" charset="0"/>
              </a:rPr>
              <a:t>AstaCert</a:t>
            </a:r>
            <a:endParaRPr lang="it-IT" dirty="0"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14A1F4F-C58D-4A2E-982D-E0FE0E9E8447}"/>
              </a:ext>
            </a:extLst>
          </p:cNvPr>
          <p:cNvSpPr/>
          <p:nvPr/>
        </p:nvSpPr>
        <p:spPr>
          <a:xfrm>
            <a:off x="10702565" y="-740"/>
            <a:ext cx="1489435" cy="76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latin typeface="Inter" panose="02000503000000020004" pitchFamily="2" charset="0"/>
                <a:ea typeface="Inter" panose="02000503000000020004" pitchFamily="2" charset="0"/>
              </a:rPr>
              <a:t>Contac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8B14458-C0F1-4E24-816C-69BD2020C8E7}"/>
              </a:ext>
            </a:extLst>
          </p:cNvPr>
          <p:cNvSpPr/>
          <p:nvPr/>
        </p:nvSpPr>
        <p:spPr>
          <a:xfrm>
            <a:off x="9213130" y="0"/>
            <a:ext cx="1489435" cy="76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latin typeface="Inter" panose="02000503000000020004" pitchFamily="2" charset="0"/>
                <a:ea typeface="Inter" panose="02000503000000020004" pitchFamily="2" charset="0"/>
              </a:rPr>
              <a:t>Abou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749960C-450C-479B-A06F-D1CDB0840395}"/>
              </a:ext>
            </a:extLst>
          </p:cNvPr>
          <p:cNvSpPr/>
          <p:nvPr/>
        </p:nvSpPr>
        <p:spPr>
          <a:xfrm>
            <a:off x="-16042" y="763292"/>
            <a:ext cx="5360661" cy="27109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3200" b="1" dirty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Do </a:t>
            </a:r>
            <a:r>
              <a:rPr lang="it-IT" sz="3200" b="1" dirty="0" err="1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you</a:t>
            </a:r>
            <a:r>
              <a:rPr lang="it-IT" sz="3200" b="1" dirty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</a:t>
            </a:r>
            <a:r>
              <a:rPr lang="it-IT" sz="3200" b="1" dirty="0" err="1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want</a:t>
            </a:r>
            <a:r>
              <a:rPr lang="it-IT" sz="3200" b="1" dirty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to </a:t>
            </a:r>
            <a:r>
              <a:rPr lang="it-IT" sz="3200" b="1" dirty="0" err="1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invest</a:t>
            </a:r>
            <a:r>
              <a:rPr lang="it-IT" sz="3200" b="1" dirty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in </a:t>
            </a:r>
            <a:r>
              <a:rPr lang="it-IT" sz="3200" b="1" dirty="0" err="1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italian</a:t>
            </a:r>
            <a:r>
              <a:rPr lang="it-IT" sz="3200" b="1" dirty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</a:t>
            </a:r>
            <a:r>
              <a:rPr lang="it-IT" sz="3200" b="1" dirty="0" err="1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real</a:t>
            </a:r>
            <a:r>
              <a:rPr lang="it-IT" sz="3200" b="1" dirty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estate?</a:t>
            </a:r>
          </a:p>
          <a:p>
            <a:pPr algn="ctr"/>
            <a:endParaRPr lang="it-IT" sz="800" dirty="0">
              <a:solidFill>
                <a:schemeClr val="tx1"/>
              </a:solidFill>
              <a:latin typeface="Inter" panose="02000503000000020004" pitchFamily="2" charset="0"/>
              <a:ea typeface="Inter" panose="02000503000000020004" pitchFamily="2" charset="0"/>
              <a:cs typeface="Quire Sans" panose="020B0502040400020003" pitchFamily="34" charset="0"/>
            </a:endParaRPr>
          </a:p>
          <a:p>
            <a:pPr algn="ctr"/>
            <a:r>
              <a:rPr lang="it-IT" sz="1600" dirty="0" err="1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We</a:t>
            </a:r>
            <a:r>
              <a:rPr lang="it-IT" sz="1600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</a:t>
            </a:r>
            <a:r>
              <a:rPr lang="it-IT" sz="1600" dirty="0" err="1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advise</a:t>
            </a:r>
            <a:r>
              <a:rPr lang="it-IT" sz="1600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</a:t>
            </a:r>
            <a:r>
              <a:rPr lang="it-IT" sz="1600" dirty="0" err="1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our</a:t>
            </a:r>
            <a:r>
              <a:rPr lang="it-IT" sz="1600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</a:t>
            </a:r>
            <a:r>
              <a:rPr lang="it-IT" sz="1600" dirty="0" err="1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investors</a:t>
            </a:r>
            <a:r>
              <a:rPr lang="it-IT" sz="1600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to flip the best </a:t>
            </a:r>
            <a:r>
              <a:rPr lang="it-IT" sz="1600" dirty="0" err="1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judicial</a:t>
            </a:r>
            <a:r>
              <a:rPr lang="it-IT" sz="1600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</a:t>
            </a:r>
            <a:r>
              <a:rPr lang="it-IT" sz="1600" dirty="0" err="1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auction</a:t>
            </a:r>
            <a:r>
              <a:rPr lang="it-IT" sz="1600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</a:t>
            </a:r>
            <a:r>
              <a:rPr lang="it-IT" sz="1600" dirty="0" err="1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opportunities</a:t>
            </a:r>
            <a:r>
              <a:rPr lang="it-IT" sz="1600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on the market and sell </a:t>
            </a:r>
            <a:r>
              <a:rPr lang="it-IT" sz="1600" dirty="0" err="1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them</a:t>
            </a:r>
            <a:r>
              <a:rPr lang="it-IT" sz="1600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for a profi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F4E060D-5456-4431-9F60-11A4169859B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4496" b="81526" l="14185" r="87670"/>
                    </a14:imgEffect>
                  </a14:imgLayer>
                </a14:imgProps>
              </a:ext>
            </a:extLst>
          </a:blip>
          <a:srcRect l="5000" t="6117" r="3144" b="10095"/>
          <a:stretch/>
        </p:blipFill>
        <p:spPr>
          <a:xfrm>
            <a:off x="5833634" y="1423447"/>
            <a:ext cx="5283545" cy="2710971"/>
          </a:xfrm>
          <a:prstGeom prst="rect">
            <a:avLst/>
          </a:prstGeom>
        </p:spPr>
      </p:pic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1CAFA9BF-B88A-48D3-BE13-6E303979B982}"/>
              </a:ext>
            </a:extLst>
          </p:cNvPr>
          <p:cNvSpPr/>
          <p:nvPr/>
        </p:nvSpPr>
        <p:spPr>
          <a:xfrm>
            <a:off x="1881888" y="3352407"/>
            <a:ext cx="2028209" cy="599966"/>
          </a:xfrm>
          <a:prstGeom prst="roundRect">
            <a:avLst>
              <a:gd name="adj" fmla="val 50000"/>
            </a:avLst>
          </a:prstGeom>
          <a:solidFill>
            <a:srgbClr val="F2E2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</a:rPr>
              <a:t>Contact </a:t>
            </a:r>
            <a:r>
              <a:rPr lang="it-IT" dirty="0" err="1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</a:rPr>
              <a:t>Us</a:t>
            </a:r>
            <a:endParaRPr lang="it-IT" dirty="0">
              <a:solidFill>
                <a:srgbClr val="3E3E40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47A4429-CF71-42E3-8F7B-089938594B99}"/>
              </a:ext>
            </a:extLst>
          </p:cNvPr>
          <p:cNvSpPr txBox="1"/>
          <p:nvPr/>
        </p:nvSpPr>
        <p:spPr>
          <a:xfrm>
            <a:off x="8439801" y="1800521"/>
            <a:ext cx="19757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err="1"/>
              <a:t>Hover</a:t>
            </a:r>
            <a:r>
              <a:rPr lang="it-IT" dirty="0"/>
              <a:t> </a:t>
            </a:r>
            <a:r>
              <a:rPr lang="it-IT" dirty="0" err="1"/>
              <a:t>effect</a:t>
            </a:r>
            <a:endParaRPr lang="it-IT" dirty="0"/>
          </a:p>
          <a:p>
            <a:endParaRPr lang="it-IT" dirty="0"/>
          </a:p>
        </p:txBody>
      </p:sp>
      <p:pic>
        <p:nvPicPr>
          <p:cNvPr id="3" name="Graphic 2" descr="Shield Tick outline">
            <a:extLst>
              <a:ext uri="{FF2B5EF4-FFF2-40B4-BE49-F238E27FC236}">
                <a16:creationId xmlns:a16="http://schemas.microsoft.com/office/drawing/2014/main" id="{E1AE147F-89B6-476F-A1CD-692750AFA6E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8100" y="5081676"/>
            <a:ext cx="569988" cy="74830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787EE8E-A116-4A41-B454-16CA7F86027A}"/>
              </a:ext>
            </a:extLst>
          </p:cNvPr>
          <p:cNvSpPr/>
          <p:nvPr/>
        </p:nvSpPr>
        <p:spPr>
          <a:xfrm>
            <a:off x="1259497" y="4512230"/>
            <a:ext cx="2762543" cy="17858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b="1" dirty="0" err="1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rPr>
              <a:t>Inflation</a:t>
            </a:r>
            <a:r>
              <a:rPr lang="it-IT" b="1" dirty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rPr>
              <a:t> </a:t>
            </a:r>
            <a:r>
              <a:rPr lang="it-IT" b="1" dirty="0" err="1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rPr>
              <a:t>Protection</a:t>
            </a:r>
            <a:endParaRPr lang="it-IT" b="1" dirty="0">
              <a:solidFill>
                <a:schemeClr val="tx1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  <a:p>
            <a:endParaRPr lang="it-IT" sz="1400" b="1" dirty="0">
              <a:solidFill>
                <a:schemeClr val="tx1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  <a:p>
            <a:r>
              <a:rPr lang="it-IT" sz="1400" dirty="0" err="1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While</a:t>
            </a:r>
            <a:r>
              <a:rPr lang="it-IT" sz="1400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stocks, bonds, </a:t>
            </a:r>
            <a:r>
              <a:rPr lang="en-US" sz="1400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and cash tend to be negatively affected by inflation, real estate has historically proven to be an attractive hedge against inflation.</a:t>
            </a:r>
            <a:endParaRPr lang="it-IT" sz="1400" dirty="0">
              <a:solidFill>
                <a:srgbClr val="3E3E40"/>
              </a:solidFill>
              <a:latin typeface="Inter" panose="02000503000000020004" pitchFamily="2" charset="0"/>
              <a:ea typeface="Inter" panose="02000503000000020004" pitchFamily="2" charset="0"/>
              <a:cs typeface="Quire Sans" panose="020B05020404000200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2E50FF1-580A-4172-AD55-FFE8F27F41D1}"/>
              </a:ext>
            </a:extLst>
          </p:cNvPr>
          <p:cNvSpPr/>
          <p:nvPr/>
        </p:nvSpPr>
        <p:spPr>
          <a:xfrm>
            <a:off x="5083697" y="4512230"/>
            <a:ext cx="2762543" cy="17858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b="1" dirty="0" err="1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rPr>
              <a:t>Volatility</a:t>
            </a:r>
            <a:r>
              <a:rPr lang="it-IT" b="1" dirty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rPr>
              <a:t> Hedge</a:t>
            </a:r>
          </a:p>
          <a:p>
            <a:endParaRPr lang="it-IT" sz="1400" b="1" dirty="0">
              <a:solidFill>
                <a:schemeClr val="tx1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  <a:p>
            <a:r>
              <a:rPr lang="en-US" sz="1400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Private real estate does not typically suffer from daily price fluctuations. Its low correlation to both stock and bond markets can provide portfolio stability.</a:t>
            </a:r>
            <a:endParaRPr lang="it-IT" sz="1400" dirty="0">
              <a:solidFill>
                <a:srgbClr val="3E3E40"/>
              </a:solidFill>
              <a:latin typeface="Inter" panose="02000503000000020004" pitchFamily="2" charset="0"/>
              <a:ea typeface="Inter" panose="02000503000000020004" pitchFamily="2" charset="0"/>
              <a:cs typeface="Quire Sans" panose="020B0502040400020003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187E910-9634-4A28-857E-EC4B9CDD1DC6}"/>
              </a:ext>
            </a:extLst>
          </p:cNvPr>
          <p:cNvSpPr/>
          <p:nvPr/>
        </p:nvSpPr>
        <p:spPr>
          <a:xfrm>
            <a:off x="8907897" y="4511492"/>
            <a:ext cx="2762543" cy="17858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b="1" dirty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rPr>
              <a:t>Cash Flow Generation</a:t>
            </a:r>
          </a:p>
          <a:p>
            <a:endParaRPr lang="it-IT" sz="1400" b="1" dirty="0">
              <a:solidFill>
                <a:schemeClr val="tx1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  <a:p>
            <a:r>
              <a:rPr lang="en-US" sz="1400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Diversifying across property types and real estate strategies can help to deliver predictable cash flow in varied market conditions.</a:t>
            </a:r>
            <a:endParaRPr lang="it-IT" sz="1400" dirty="0">
              <a:solidFill>
                <a:srgbClr val="3E3E40"/>
              </a:solidFill>
              <a:latin typeface="Inter" panose="02000503000000020004" pitchFamily="2" charset="0"/>
              <a:ea typeface="Inter" panose="02000503000000020004" pitchFamily="2" charset="0"/>
              <a:cs typeface="Quire Sans" panose="020B0502040400020003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8860910-CC28-4C86-A3A9-65A1288CBC49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25394" t="30877" r="71316" b="62339"/>
          <a:stretch/>
        </p:blipFill>
        <p:spPr>
          <a:xfrm>
            <a:off x="4442384" y="5222480"/>
            <a:ext cx="401053" cy="465221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A23A699F-18EF-4D1E-BA1D-D282F56A5B5A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25132" t="57631" r="71447" b="34216"/>
          <a:stretch/>
        </p:blipFill>
        <p:spPr>
          <a:xfrm>
            <a:off x="8266858" y="5175530"/>
            <a:ext cx="417095" cy="559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3385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BB466E-31F0-4F06-B874-1C7B729BC6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5585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BB466E-31F0-4F06-B874-1C7B729BC6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B5356F45-3B6A-4C01-B098-687217640885}"/>
              </a:ext>
            </a:extLst>
          </p:cNvPr>
          <p:cNvSpPr/>
          <p:nvPr/>
        </p:nvSpPr>
        <p:spPr>
          <a:xfrm>
            <a:off x="0" y="-19594"/>
            <a:ext cx="12192000" cy="764771"/>
          </a:xfrm>
          <a:prstGeom prst="rect">
            <a:avLst/>
          </a:prstGeom>
          <a:solidFill>
            <a:srgbClr val="223A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5FA16E-9196-4C66-B602-E8DAD1AE22D7}"/>
              </a:ext>
            </a:extLst>
          </p:cNvPr>
          <p:cNvSpPr/>
          <p:nvPr/>
        </p:nvSpPr>
        <p:spPr>
          <a:xfrm>
            <a:off x="0" y="0"/>
            <a:ext cx="1489435" cy="76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err="1">
                <a:latin typeface="Inter" panose="02000503000000020004" pitchFamily="2" charset="0"/>
                <a:ea typeface="Inter" panose="02000503000000020004" pitchFamily="2" charset="0"/>
              </a:rPr>
              <a:t>AstaCert</a:t>
            </a:r>
            <a:endParaRPr lang="it-IT" dirty="0"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14A1F4F-C58D-4A2E-982D-E0FE0E9E8447}"/>
              </a:ext>
            </a:extLst>
          </p:cNvPr>
          <p:cNvSpPr/>
          <p:nvPr/>
        </p:nvSpPr>
        <p:spPr>
          <a:xfrm>
            <a:off x="10702565" y="-740"/>
            <a:ext cx="1489435" cy="76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latin typeface="Inter" panose="02000503000000020004" pitchFamily="2" charset="0"/>
                <a:ea typeface="Inter" panose="02000503000000020004" pitchFamily="2" charset="0"/>
              </a:rPr>
              <a:t>Contac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8B14458-C0F1-4E24-816C-69BD2020C8E7}"/>
              </a:ext>
            </a:extLst>
          </p:cNvPr>
          <p:cNvSpPr/>
          <p:nvPr/>
        </p:nvSpPr>
        <p:spPr>
          <a:xfrm>
            <a:off x="9213130" y="-18854"/>
            <a:ext cx="1489435" cy="76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latin typeface="Inter" panose="02000503000000020004" pitchFamily="2" charset="0"/>
                <a:ea typeface="Inter" panose="02000503000000020004" pitchFamily="2" charset="0"/>
              </a:rPr>
              <a:t>Abou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7451947-7F4E-4A85-9685-23A16CBD9C8F}"/>
              </a:ext>
            </a:extLst>
          </p:cNvPr>
          <p:cNvSpPr txBox="1"/>
          <p:nvPr/>
        </p:nvSpPr>
        <p:spPr>
          <a:xfrm>
            <a:off x="0" y="1258937"/>
            <a:ext cx="1219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3200" b="1" dirty="0" err="1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Why</a:t>
            </a:r>
            <a:r>
              <a:rPr lang="it-IT" sz="3200" b="1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</a:t>
            </a:r>
            <a:r>
              <a:rPr lang="it-IT" sz="3200" b="1" dirty="0" err="1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judicial</a:t>
            </a:r>
            <a:r>
              <a:rPr lang="it-IT" sz="3200" b="1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</a:t>
            </a:r>
            <a:r>
              <a:rPr lang="it-IT" sz="3200" b="1" dirty="0" err="1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auction</a:t>
            </a:r>
            <a:r>
              <a:rPr lang="it-IT" sz="3200" b="1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?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524631F-3D7A-4852-BE5B-DB3070DBA0A1}"/>
              </a:ext>
            </a:extLst>
          </p:cNvPr>
          <p:cNvSpPr txBox="1"/>
          <p:nvPr/>
        </p:nvSpPr>
        <p:spPr>
          <a:xfrm>
            <a:off x="0" y="2644170"/>
            <a:ext cx="609600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Buy a </a:t>
            </a:r>
            <a:r>
              <a:rPr lang="it-IT" sz="1600" dirty="0" err="1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property</a:t>
            </a:r>
            <a:r>
              <a:rPr lang="it-IT" sz="1600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for</a:t>
            </a:r>
          </a:p>
          <a:p>
            <a:pPr algn="ctr"/>
            <a:r>
              <a:rPr lang="it-IT" sz="9600" b="1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20-40%</a:t>
            </a:r>
          </a:p>
          <a:p>
            <a:pPr algn="ctr"/>
            <a:r>
              <a:rPr lang="it-IT" sz="1600" dirty="0" err="1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less</a:t>
            </a:r>
            <a:r>
              <a:rPr lang="it-IT" sz="1600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</a:t>
            </a:r>
            <a:r>
              <a:rPr lang="it-IT" sz="1600" dirty="0" err="1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than</a:t>
            </a:r>
            <a:r>
              <a:rPr lang="it-IT" sz="1600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</a:t>
            </a:r>
            <a:r>
              <a:rPr lang="it-IT" sz="1600" dirty="0" err="1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its</a:t>
            </a:r>
            <a:r>
              <a:rPr lang="it-IT" sz="1600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market </a:t>
            </a:r>
            <a:r>
              <a:rPr lang="it-IT" sz="1600" dirty="0" err="1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value</a:t>
            </a:r>
            <a:endParaRPr lang="it-IT" sz="1600" dirty="0">
              <a:latin typeface="Inter" panose="02000503000000020004" pitchFamily="2" charset="0"/>
              <a:ea typeface="Inter" panose="02000503000000020004" pitchFamily="2" charset="0"/>
              <a:cs typeface="Quire Sans" panose="020B0502040400020003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B468443-7803-4792-BCBD-5F0EC97F8820}"/>
              </a:ext>
            </a:extLst>
          </p:cNvPr>
          <p:cNvSpPr txBox="1"/>
          <p:nvPr/>
        </p:nvSpPr>
        <p:spPr>
          <a:xfrm>
            <a:off x="6096000" y="2644169"/>
            <a:ext cx="6096000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b="1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TRANSPARENT</a:t>
            </a:r>
          </a:p>
          <a:p>
            <a:endParaRPr lang="it-IT" sz="1600" dirty="0">
              <a:latin typeface="Inter" panose="02000503000000020004" pitchFamily="2" charset="0"/>
              <a:ea typeface="Inter" panose="02000503000000020004" pitchFamily="2" charset="0"/>
              <a:cs typeface="Quire Sans" panose="020B0502040400020003" pitchFamily="34" charset="0"/>
            </a:endParaRPr>
          </a:p>
          <a:p>
            <a:r>
              <a:rPr lang="en-US" sz="1600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Most transparent way to purchase a real estate propriety as </a:t>
            </a:r>
          </a:p>
          <a:p>
            <a:r>
              <a:rPr lang="en-US" sz="1600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every step is supervised by a tribunal</a:t>
            </a:r>
          </a:p>
          <a:p>
            <a:endParaRPr lang="en-US" sz="1600" dirty="0">
              <a:solidFill>
                <a:srgbClr val="3E3E40"/>
              </a:solidFill>
              <a:latin typeface="Inter" panose="02000503000000020004" pitchFamily="2" charset="0"/>
              <a:ea typeface="Inter" panose="02000503000000020004" pitchFamily="2" charset="0"/>
              <a:cs typeface="Quire Sans" panose="020B0502040400020003" pitchFamily="34" charset="0"/>
            </a:endParaRPr>
          </a:p>
          <a:p>
            <a:r>
              <a:rPr lang="en-US" sz="1600" b="1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SECURE</a:t>
            </a:r>
          </a:p>
          <a:p>
            <a:endParaRPr lang="en-US" sz="1600" dirty="0">
              <a:solidFill>
                <a:srgbClr val="3E3E40"/>
              </a:solidFill>
              <a:latin typeface="Inter" panose="02000503000000020004" pitchFamily="2" charset="0"/>
              <a:ea typeface="Inter" panose="02000503000000020004" pitchFamily="2" charset="0"/>
              <a:cs typeface="Quire Sans" panose="020B0502040400020003" pitchFamily="34" charset="0"/>
            </a:endParaRPr>
          </a:p>
          <a:p>
            <a:r>
              <a:rPr lang="en-US" sz="1600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All the properties are sold with a sworn report </a:t>
            </a:r>
          </a:p>
          <a:p>
            <a:endParaRPr lang="en-US" sz="1600" dirty="0">
              <a:solidFill>
                <a:srgbClr val="3E3E40"/>
              </a:solidFill>
              <a:latin typeface="Inter" panose="02000503000000020004" pitchFamily="2" charset="0"/>
              <a:ea typeface="Inter" panose="02000503000000020004" pitchFamily="2" charset="0"/>
              <a:cs typeface="Quire Sans" panose="020B0502040400020003" pitchFamily="34" charset="0"/>
            </a:endParaRPr>
          </a:p>
          <a:p>
            <a:r>
              <a:rPr lang="en-US" sz="1600" b="1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HIGHLY PROFITABLE</a:t>
            </a:r>
          </a:p>
          <a:p>
            <a:endParaRPr lang="en-US" sz="1600" dirty="0">
              <a:solidFill>
                <a:srgbClr val="3E3E40"/>
              </a:solidFill>
              <a:latin typeface="Inter" panose="02000503000000020004" pitchFamily="2" charset="0"/>
              <a:ea typeface="Inter" panose="02000503000000020004" pitchFamily="2" charset="0"/>
              <a:cs typeface="Quire Sans" panose="020B0502040400020003" pitchFamily="34" charset="0"/>
            </a:endParaRPr>
          </a:p>
          <a:p>
            <a:r>
              <a:rPr lang="en-US" sz="1600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Strong discounted properties due to the market's complexity and buyers' lack of skill</a:t>
            </a:r>
            <a:endParaRPr lang="it-IT" sz="1600" dirty="0">
              <a:solidFill>
                <a:srgbClr val="3E3E40"/>
              </a:solidFill>
              <a:latin typeface="Inter" panose="02000503000000020004" pitchFamily="2" charset="0"/>
              <a:ea typeface="Inter" panose="02000503000000020004" pitchFamily="2" charset="0"/>
              <a:cs typeface="Quire Sans" panose="020B050204040002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81237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BB466E-31F0-4F06-B874-1C7B729BC6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BB466E-31F0-4F06-B874-1C7B729BC6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B5356F45-3B6A-4C01-B098-687217640885}"/>
              </a:ext>
            </a:extLst>
          </p:cNvPr>
          <p:cNvSpPr/>
          <p:nvPr/>
        </p:nvSpPr>
        <p:spPr>
          <a:xfrm>
            <a:off x="0" y="-19594"/>
            <a:ext cx="12192000" cy="764771"/>
          </a:xfrm>
          <a:prstGeom prst="rect">
            <a:avLst/>
          </a:prstGeom>
          <a:solidFill>
            <a:srgbClr val="223A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5FA16E-9196-4C66-B602-E8DAD1AE22D7}"/>
              </a:ext>
            </a:extLst>
          </p:cNvPr>
          <p:cNvSpPr/>
          <p:nvPr/>
        </p:nvSpPr>
        <p:spPr>
          <a:xfrm>
            <a:off x="0" y="0"/>
            <a:ext cx="1489435" cy="76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err="1">
                <a:latin typeface="Inter" panose="02000503000000020004" pitchFamily="2" charset="0"/>
                <a:ea typeface="Inter" panose="02000503000000020004" pitchFamily="2" charset="0"/>
              </a:rPr>
              <a:t>AstaCert</a:t>
            </a:r>
            <a:endParaRPr lang="it-IT" dirty="0"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14A1F4F-C58D-4A2E-982D-E0FE0E9E8447}"/>
              </a:ext>
            </a:extLst>
          </p:cNvPr>
          <p:cNvSpPr/>
          <p:nvPr/>
        </p:nvSpPr>
        <p:spPr>
          <a:xfrm>
            <a:off x="10702565" y="-740"/>
            <a:ext cx="1489435" cy="76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latin typeface="Inter" panose="02000503000000020004" pitchFamily="2" charset="0"/>
                <a:ea typeface="Inter" panose="02000503000000020004" pitchFamily="2" charset="0"/>
              </a:rPr>
              <a:t>Contact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E6F1312B-8891-48DD-98C2-16B4CE92C941}"/>
              </a:ext>
            </a:extLst>
          </p:cNvPr>
          <p:cNvSpPr/>
          <p:nvPr/>
        </p:nvSpPr>
        <p:spPr>
          <a:xfrm>
            <a:off x="487051" y="955642"/>
            <a:ext cx="11217897" cy="4643084"/>
          </a:xfrm>
          <a:prstGeom prst="roundRect">
            <a:avLst/>
          </a:prstGeom>
          <a:solidFill>
            <a:schemeClr val="bg1"/>
          </a:solidFill>
          <a:ln>
            <a:solidFill>
              <a:srgbClr val="F2E2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8B14458-C0F1-4E24-816C-69BD2020C8E7}"/>
              </a:ext>
            </a:extLst>
          </p:cNvPr>
          <p:cNvSpPr/>
          <p:nvPr/>
        </p:nvSpPr>
        <p:spPr>
          <a:xfrm>
            <a:off x="9213130" y="-18854"/>
            <a:ext cx="1489435" cy="76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latin typeface="Inter" panose="02000503000000020004" pitchFamily="2" charset="0"/>
                <a:ea typeface="Inter" panose="02000503000000020004" pitchFamily="2" charset="0"/>
              </a:rPr>
              <a:t>Abou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7451947-7F4E-4A85-9685-23A16CBD9C8F}"/>
              </a:ext>
            </a:extLst>
          </p:cNvPr>
          <p:cNvSpPr txBox="1"/>
          <p:nvPr/>
        </p:nvSpPr>
        <p:spPr>
          <a:xfrm>
            <a:off x="0" y="1258937"/>
            <a:ext cx="1219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3200" b="1" dirty="0" err="1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We</a:t>
            </a:r>
            <a:r>
              <a:rPr lang="it-IT" sz="3200" b="1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</a:t>
            </a:r>
            <a:r>
              <a:rPr lang="it-IT" sz="3200" b="1" dirty="0" err="1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advise</a:t>
            </a:r>
            <a:r>
              <a:rPr lang="it-IT" sz="3200" b="1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</a:t>
            </a:r>
            <a:r>
              <a:rPr lang="it-IT" sz="3200" b="1" dirty="0" err="1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you</a:t>
            </a:r>
            <a:r>
              <a:rPr lang="it-IT" sz="3200" b="1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: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88DA054-22B8-4F67-B6F4-8F77F762A79F}"/>
              </a:ext>
            </a:extLst>
          </p:cNvPr>
          <p:cNvCxnSpPr>
            <a:cxnSpLocks/>
          </p:cNvCxnSpPr>
          <p:nvPr/>
        </p:nvCxnSpPr>
        <p:spPr>
          <a:xfrm>
            <a:off x="3481270" y="2771366"/>
            <a:ext cx="0" cy="2157825"/>
          </a:xfrm>
          <a:prstGeom prst="line">
            <a:avLst/>
          </a:prstGeom>
          <a:ln>
            <a:solidFill>
              <a:srgbClr val="F2E2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FD2DF2A0-C0E6-4BB3-8E93-4DEB44C91AA2}"/>
              </a:ext>
            </a:extLst>
          </p:cNvPr>
          <p:cNvSpPr txBox="1"/>
          <p:nvPr/>
        </p:nvSpPr>
        <p:spPr>
          <a:xfrm>
            <a:off x="4098862" y="2344402"/>
            <a:ext cx="48324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err="1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Choosing</a:t>
            </a:r>
            <a:r>
              <a:rPr lang="it-IT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the best </a:t>
            </a:r>
            <a:r>
              <a:rPr lang="it-IT" dirty="0" err="1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real</a:t>
            </a:r>
            <a:r>
              <a:rPr lang="it-IT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estate </a:t>
            </a:r>
            <a:r>
              <a:rPr lang="it-IT" dirty="0" err="1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opportunity</a:t>
            </a:r>
            <a:r>
              <a:rPr lang="it-IT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on the </a:t>
            </a:r>
            <a:r>
              <a:rPr lang="it-IT" dirty="0" err="1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judicial</a:t>
            </a:r>
            <a:r>
              <a:rPr lang="it-IT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</a:t>
            </a:r>
            <a:r>
              <a:rPr lang="it-IT" dirty="0" err="1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auction</a:t>
            </a:r>
            <a:r>
              <a:rPr lang="it-IT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marke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D7DA603-B9E5-4A13-98D3-24E5FFADC5E1}"/>
              </a:ext>
            </a:extLst>
          </p:cNvPr>
          <p:cNvSpPr txBox="1"/>
          <p:nvPr/>
        </p:nvSpPr>
        <p:spPr>
          <a:xfrm>
            <a:off x="4098862" y="3623910"/>
            <a:ext cx="5060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err="1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Buying</a:t>
            </a:r>
            <a:r>
              <a:rPr lang="it-IT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</a:t>
            </a:r>
            <a:r>
              <a:rPr lang="it-IT" dirty="0" err="1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at</a:t>
            </a:r>
            <a:r>
              <a:rPr lang="it-IT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</a:t>
            </a:r>
            <a:r>
              <a:rPr lang="it-IT" dirty="0" err="1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auction</a:t>
            </a:r>
            <a:r>
              <a:rPr lang="it-IT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the </a:t>
            </a:r>
            <a:r>
              <a:rPr lang="it-IT" dirty="0" err="1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property</a:t>
            </a:r>
            <a:endParaRPr lang="it-IT" dirty="0">
              <a:solidFill>
                <a:srgbClr val="3E3E40"/>
              </a:solidFill>
              <a:latin typeface="Inter" panose="02000503000000020004" pitchFamily="2" charset="0"/>
              <a:ea typeface="Inter" panose="02000503000000020004" pitchFamily="2" charset="0"/>
              <a:cs typeface="Quire Sans" panose="020B0502040400020003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DFB7280-0F4D-4F05-A322-6E797BEA123F}"/>
              </a:ext>
            </a:extLst>
          </p:cNvPr>
          <p:cNvSpPr txBox="1"/>
          <p:nvPr/>
        </p:nvSpPr>
        <p:spPr>
          <a:xfrm>
            <a:off x="4098862" y="4764920"/>
            <a:ext cx="30966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err="1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Reselling</a:t>
            </a:r>
            <a:r>
              <a:rPr lang="it-IT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or Renting </a:t>
            </a:r>
            <a:r>
              <a:rPr lang="it-IT" dirty="0" err="1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it</a:t>
            </a:r>
            <a:r>
              <a:rPr lang="it-IT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out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28C0B1E-46C8-4CA6-AA19-0A4134D27F72}"/>
              </a:ext>
            </a:extLst>
          </p:cNvPr>
          <p:cNvSpPr/>
          <p:nvPr/>
        </p:nvSpPr>
        <p:spPr>
          <a:xfrm>
            <a:off x="3051398" y="2237700"/>
            <a:ext cx="859735" cy="859735"/>
          </a:xfrm>
          <a:prstGeom prst="ellipse">
            <a:avLst/>
          </a:prstGeom>
          <a:solidFill>
            <a:schemeClr val="bg1"/>
          </a:solidFill>
          <a:ln w="28575">
            <a:solidFill>
              <a:srgbClr val="F2E2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3200" dirty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rPr>
              <a:t>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8965A04-2F92-4E44-8399-8961379CDA59}"/>
              </a:ext>
            </a:extLst>
          </p:cNvPr>
          <p:cNvSpPr txBox="1"/>
          <p:nvPr/>
        </p:nvSpPr>
        <p:spPr>
          <a:xfrm>
            <a:off x="1747939" y="2457159"/>
            <a:ext cx="1221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dirty="0">
                <a:latin typeface="Inter" panose="02000503000000020004" pitchFamily="2" charset="0"/>
                <a:ea typeface="Inter" panose="02000503000000020004" pitchFamily="2" charset="0"/>
              </a:rPr>
              <a:t>EXPLO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D321C14-1002-4ABC-9AF6-9ADB8F10D59B}"/>
              </a:ext>
            </a:extLst>
          </p:cNvPr>
          <p:cNvSpPr txBox="1"/>
          <p:nvPr/>
        </p:nvSpPr>
        <p:spPr>
          <a:xfrm>
            <a:off x="1747939" y="3595039"/>
            <a:ext cx="1221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dirty="0">
                <a:latin typeface="Inter" panose="02000503000000020004" pitchFamily="2" charset="0"/>
                <a:ea typeface="Inter" panose="02000503000000020004" pitchFamily="2" charset="0"/>
              </a:rPr>
              <a:t>INVES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B107940-C8C8-40E0-8D57-2A0EE7542BCA}"/>
              </a:ext>
            </a:extLst>
          </p:cNvPr>
          <p:cNvSpPr txBox="1"/>
          <p:nvPr/>
        </p:nvSpPr>
        <p:spPr>
          <a:xfrm>
            <a:off x="1747939" y="4604823"/>
            <a:ext cx="1221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dirty="0">
                <a:latin typeface="Inter" panose="02000503000000020004" pitchFamily="2" charset="0"/>
                <a:ea typeface="Inter" panose="02000503000000020004" pitchFamily="2" charset="0"/>
              </a:rPr>
              <a:t>EARN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EEED5EC-D5C9-4F3F-85DF-33697C83F7BC}"/>
              </a:ext>
            </a:extLst>
          </p:cNvPr>
          <p:cNvSpPr/>
          <p:nvPr/>
        </p:nvSpPr>
        <p:spPr>
          <a:xfrm>
            <a:off x="3051398" y="3378709"/>
            <a:ext cx="859735" cy="859735"/>
          </a:xfrm>
          <a:prstGeom prst="ellipse">
            <a:avLst/>
          </a:prstGeom>
          <a:solidFill>
            <a:schemeClr val="bg1"/>
          </a:solidFill>
          <a:ln w="28575">
            <a:solidFill>
              <a:srgbClr val="F2E2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3200" dirty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rPr>
              <a:t>2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F27F3B7-0899-47D2-B034-31CDC5C2C156}"/>
              </a:ext>
            </a:extLst>
          </p:cNvPr>
          <p:cNvSpPr/>
          <p:nvPr/>
        </p:nvSpPr>
        <p:spPr>
          <a:xfrm>
            <a:off x="3033088" y="4519719"/>
            <a:ext cx="859735" cy="859735"/>
          </a:xfrm>
          <a:prstGeom prst="ellipse">
            <a:avLst/>
          </a:prstGeom>
          <a:solidFill>
            <a:schemeClr val="bg1"/>
          </a:solidFill>
          <a:ln w="28575">
            <a:solidFill>
              <a:srgbClr val="F2E2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3200" dirty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598725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BB466E-31F0-4F06-B874-1C7B729BC6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062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BB466E-31F0-4F06-B874-1C7B729BC6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B5356F45-3B6A-4C01-B098-687217640885}"/>
              </a:ext>
            </a:extLst>
          </p:cNvPr>
          <p:cNvSpPr/>
          <p:nvPr/>
        </p:nvSpPr>
        <p:spPr>
          <a:xfrm>
            <a:off x="0" y="-19594"/>
            <a:ext cx="12192000" cy="764771"/>
          </a:xfrm>
          <a:prstGeom prst="rect">
            <a:avLst/>
          </a:prstGeom>
          <a:solidFill>
            <a:srgbClr val="223A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5FA16E-9196-4C66-B602-E8DAD1AE22D7}"/>
              </a:ext>
            </a:extLst>
          </p:cNvPr>
          <p:cNvSpPr/>
          <p:nvPr/>
        </p:nvSpPr>
        <p:spPr>
          <a:xfrm>
            <a:off x="0" y="0"/>
            <a:ext cx="1489435" cy="76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err="1">
                <a:latin typeface="Inter" panose="02000503000000020004" pitchFamily="2" charset="0"/>
                <a:ea typeface="Inter" panose="02000503000000020004" pitchFamily="2" charset="0"/>
              </a:rPr>
              <a:t>AstaCert</a:t>
            </a:r>
            <a:endParaRPr lang="it-IT" dirty="0"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14A1F4F-C58D-4A2E-982D-E0FE0E9E8447}"/>
              </a:ext>
            </a:extLst>
          </p:cNvPr>
          <p:cNvSpPr/>
          <p:nvPr/>
        </p:nvSpPr>
        <p:spPr>
          <a:xfrm>
            <a:off x="10702565" y="-740"/>
            <a:ext cx="1489435" cy="76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latin typeface="Inter" panose="02000503000000020004" pitchFamily="2" charset="0"/>
                <a:ea typeface="Inter" panose="02000503000000020004" pitchFamily="2" charset="0"/>
              </a:rPr>
              <a:t>Contac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8B14458-C0F1-4E24-816C-69BD2020C8E7}"/>
              </a:ext>
            </a:extLst>
          </p:cNvPr>
          <p:cNvSpPr/>
          <p:nvPr/>
        </p:nvSpPr>
        <p:spPr>
          <a:xfrm>
            <a:off x="9213130" y="-18854"/>
            <a:ext cx="1489435" cy="76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latin typeface="Inter" panose="02000503000000020004" pitchFamily="2" charset="0"/>
                <a:ea typeface="Inter" panose="02000503000000020004" pitchFamily="2" charset="0"/>
              </a:rPr>
              <a:t>Abou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DA6C5E8-3FA2-4D0F-B774-6D621816754B}"/>
              </a:ext>
            </a:extLst>
          </p:cNvPr>
          <p:cNvSpPr txBox="1"/>
          <p:nvPr/>
        </p:nvSpPr>
        <p:spPr>
          <a:xfrm>
            <a:off x="6278251" y="1847654"/>
            <a:ext cx="55507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</a:rPr>
              <a:t>1 - EXPLOR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9C9C38D-9F43-4026-B334-80FE5ADC4728}"/>
              </a:ext>
            </a:extLst>
          </p:cNvPr>
          <p:cNvSpPr txBox="1"/>
          <p:nvPr/>
        </p:nvSpPr>
        <p:spPr>
          <a:xfrm>
            <a:off x="6278251" y="2216986"/>
            <a:ext cx="4920791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dirty="0" err="1">
                <a:latin typeface="Inter" panose="02000503000000020004" pitchFamily="2" charset="0"/>
                <a:ea typeface="Inter" panose="02000503000000020004" pitchFamily="2" charset="0"/>
              </a:rPr>
              <a:t>Explore</a:t>
            </a:r>
            <a:r>
              <a:rPr lang="it-IT" sz="3200" dirty="0">
                <a:latin typeface="Inter" panose="02000503000000020004" pitchFamily="2" charset="0"/>
                <a:ea typeface="Inter" panose="02000503000000020004" pitchFamily="2" charset="0"/>
              </a:rPr>
              <a:t> investment </a:t>
            </a:r>
            <a:r>
              <a:rPr lang="it-IT" sz="3200" dirty="0" err="1">
                <a:latin typeface="Inter" panose="02000503000000020004" pitchFamily="2" charset="0"/>
                <a:ea typeface="Inter" panose="02000503000000020004" pitchFamily="2" charset="0"/>
              </a:rPr>
              <a:t>opportunities</a:t>
            </a:r>
            <a:endParaRPr lang="it-IT" sz="3200" dirty="0">
              <a:latin typeface="Inter" panose="02000503000000020004" pitchFamily="2" charset="0"/>
              <a:ea typeface="Inter" panose="02000503000000020004" pitchFamily="2" charset="0"/>
            </a:endParaRPr>
          </a:p>
          <a:p>
            <a:endParaRPr lang="en-US" sz="1600" dirty="0">
              <a:solidFill>
                <a:srgbClr val="3E3E40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  <a:p>
            <a:r>
              <a:rPr lang="en-US" sz="1600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</a:rPr>
              <a:t>Are you looking to generate income and grow your portfolio’s value? We offer </a:t>
            </a:r>
            <a:r>
              <a:rPr lang="en-US" sz="1600" b="0" i="0" dirty="0">
                <a:solidFill>
                  <a:srgbClr val="3E3E40"/>
                </a:solidFill>
                <a:effectLst/>
                <a:latin typeface="Inter" panose="02000503000000020004" pitchFamily="2" charset="0"/>
                <a:ea typeface="Inter" panose="02000503000000020004" pitchFamily="2" charset="0"/>
              </a:rPr>
              <a:t>investments that match these objectives.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45C3DDE-1AC3-4B1A-A816-B5B2579FB1C2}"/>
              </a:ext>
            </a:extLst>
          </p:cNvPr>
          <p:cNvGrpSpPr/>
          <p:nvPr/>
        </p:nvGrpSpPr>
        <p:grpSpPr>
          <a:xfrm>
            <a:off x="6372000" y="4430599"/>
            <a:ext cx="197963" cy="197963"/>
            <a:chOff x="6372000" y="4430599"/>
            <a:chExt cx="197963" cy="197963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BC7AEF5A-B285-4879-90D6-54EA46591984}"/>
                </a:ext>
              </a:extLst>
            </p:cNvPr>
            <p:cNvSpPr/>
            <p:nvPr/>
          </p:nvSpPr>
          <p:spPr>
            <a:xfrm>
              <a:off x="6372000" y="4430599"/>
              <a:ext cx="197963" cy="197963"/>
            </a:xfrm>
            <a:prstGeom prst="ellipse">
              <a:avLst/>
            </a:prstGeom>
            <a:solidFill>
              <a:srgbClr val="F2E2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  <p:pic>
          <p:nvPicPr>
            <p:cNvPr id="16" name="Graphic 15" descr="Checkmark with solid fill">
              <a:extLst>
                <a:ext uri="{FF2B5EF4-FFF2-40B4-BE49-F238E27FC236}">
                  <a16:creationId xmlns:a16="http://schemas.microsoft.com/office/drawing/2014/main" id="{75DE56B9-C6AF-410F-9802-51F4A0F3785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416560" y="4475159"/>
              <a:ext cx="108843" cy="108843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097271D-EAAB-4E8E-8AA2-77F1EDCE9549}"/>
              </a:ext>
            </a:extLst>
          </p:cNvPr>
          <p:cNvGrpSpPr/>
          <p:nvPr/>
        </p:nvGrpSpPr>
        <p:grpSpPr>
          <a:xfrm>
            <a:off x="6374055" y="5233449"/>
            <a:ext cx="197963" cy="197963"/>
            <a:chOff x="6372000" y="4430599"/>
            <a:chExt cx="197963" cy="197963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B8152AC3-BD7B-4D2D-9AF4-271B5FD2D929}"/>
                </a:ext>
              </a:extLst>
            </p:cNvPr>
            <p:cNvSpPr/>
            <p:nvPr/>
          </p:nvSpPr>
          <p:spPr>
            <a:xfrm>
              <a:off x="6372000" y="4430599"/>
              <a:ext cx="197963" cy="197963"/>
            </a:xfrm>
            <a:prstGeom prst="ellipse">
              <a:avLst/>
            </a:prstGeom>
            <a:solidFill>
              <a:srgbClr val="F2E2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  <p:pic>
          <p:nvPicPr>
            <p:cNvPr id="27" name="Graphic 26" descr="Checkmark with solid fill">
              <a:extLst>
                <a:ext uri="{FF2B5EF4-FFF2-40B4-BE49-F238E27FC236}">
                  <a16:creationId xmlns:a16="http://schemas.microsoft.com/office/drawing/2014/main" id="{1DECBF84-143B-4FD4-A4A4-6226371367E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416560" y="4475159"/>
              <a:ext cx="108843" cy="108843"/>
            </a:xfrm>
            <a:prstGeom prst="rect">
              <a:avLst/>
            </a:prstGeom>
          </p:spPr>
        </p:pic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4882915A-7D6E-4340-99B6-FEA5D9073EDF}"/>
              </a:ext>
            </a:extLst>
          </p:cNvPr>
          <p:cNvSpPr txBox="1"/>
          <p:nvPr/>
        </p:nvSpPr>
        <p:spPr>
          <a:xfrm>
            <a:off x="6683604" y="4360303"/>
            <a:ext cx="451543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>
                <a:latin typeface="Inter" panose="02000503000000020004" pitchFamily="2" charset="0"/>
                <a:ea typeface="Inter" panose="02000503000000020004" pitchFamily="2" charset="0"/>
              </a:rPr>
              <a:t>Innovative investment strategies: </a:t>
            </a:r>
            <a:r>
              <a:rPr lang="it-IT" sz="1400" dirty="0">
                <a:latin typeface="Inter" panose="02000503000000020004" pitchFamily="2" charset="0"/>
                <a:ea typeface="Inter" panose="02000503000000020004" pitchFamily="2" charset="0"/>
              </a:rPr>
              <a:t>Thanks to </a:t>
            </a:r>
            <a:r>
              <a:rPr lang="it-IT" sz="1400" dirty="0" err="1">
                <a:latin typeface="Inter" panose="02000503000000020004" pitchFamily="2" charset="0"/>
                <a:ea typeface="Inter" panose="02000503000000020004" pitchFamily="2" charset="0"/>
              </a:rPr>
              <a:t>our</a:t>
            </a:r>
            <a:r>
              <a:rPr lang="it-IT" sz="1400" dirty="0">
                <a:latin typeface="Inter" panose="02000503000000020004" pitchFamily="2" charset="0"/>
                <a:ea typeface="Inter" panose="02000503000000020004" pitchFamily="2" charset="0"/>
              </a:rPr>
              <a:t> </a:t>
            </a:r>
            <a:r>
              <a:rPr lang="it-IT" sz="1400" dirty="0" err="1">
                <a:latin typeface="Inter" panose="02000503000000020004" pitchFamily="2" charset="0"/>
                <a:ea typeface="Inter" panose="02000503000000020004" pitchFamily="2" charset="0"/>
              </a:rPr>
              <a:t>Proprietary</a:t>
            </a:r>
            <a:r>
              <a:rPr lang="it-IT" sz="1400" dirty="0">
                <a:latin typeface="Inter" panose="02000503000000020004" pitchFamily="2" charset="0"/>
                <a:ea typeface="Inter" panose="02000503000000020004" pitchFamily="2" charset="0"/>
              </a:rPr>
              <a:t> Software </a:t>
            </a:r>
            <a:r>
              <a:rPr lang="it-IT" sz="1400" dirty="0" err="1">
                <a:latin typeface="Inter" panose="02000503000000020004" pitchFamily="2" charset="0"/>
                <a:ea typeface="Inter" panose="02000503000000020004" pitchFamily="2" charset="0"/>
              </a:rPr>
              <a:t>we</a:t>
            </a:r>
            <a:r>
              <a:rPr lang="it-IT" sz="1400" dirty="0">
                <a:latin typeface="Inter" panose="02000503000000020004" pitchFamily="2" charset="0"/>
                <a:ea typeface="Inter" panose="02000503000000020004" pitchFamily="2" charset="0"/>
              </a:rPr>
              <a:t> can scout </a:t>
            </a:r>
            <a:r>
              <a:rPr lang="it-IT" sz="1400" dirty="0" err="1">
                <a:latin typeface="Inter" panose="02000503000000020004" pitchFamily="2" charset="0"/>
                <a:ea typeface="Inter" panose="02000503000000020004" pitchFamily="2" charset="0"/>
              </a:rPr>
              <a:t>thousands</a:t>
            </a:r>
            <a:r>
              <a:rPr lang="it-IT" sz="1400" dirty="0">
                <a:latin typeface="Inter" panose="02000503000000020004" pitchFamily="2" charset="0"/>
                <a:ea typeface="Inter" panose="02000503000000020004" pitchFamily="2" charset="0"/>
              </a:rPr>
              <a:t> of investment </a:t>
            </a:r>
            <a:r>
              <a:rPr lang="it-IT" sz="1400" dirty="0" err="1">
                <a:latin typeface="Inter" panose="02000503000000020004" pitchFamily="2" charset="0"/>
                <a:ea typeface="Inter" panose="02000503000000020004" pitchFamily="2" charset="0"/>
              </a:rPr>
              <a:t>opportunities</a:t>
            </a:r>
            <a:r>
              <a:rPr lang="it-IT" sz="1400" dirty="0">
                <a:latin typeface="Inter" panose="02000503000000020004" pitchFamily="2" charset="0"/>
                <a:ea typeface="Inter" panose="02000503000000020004" pitchFamily="2" charset="0"/>
              </a:rPr>
              <a:t> </a:t>
            </a:r>
            <a:r>
              <a:rPr lang="it-IT" sz="1400" dirty="0" err="1">
                <a:latin typeface="Inter" panose="02000503000000020004" pitchFamily="2" charset="0"/>
                <a:ea typeface="Inter" panose="02000503000000020004" pitchFamily="2" charset="0"/>
              </a:rPr>
              <a:t>each</a:t>
            </a:r>
            <a:r>
              <a:rPr lang="it-IT" sz="1400" dirty="0">
                <a:latin typeface="Inter" panose="02000503000000020004" pitchFamily="2" charset="0"/>
                <a:ea typeface="Inter" panose="02000503000000020004" pitchFamily="2" charset="0"/>
              </a:rPr>
              <a:t> day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114BA6F-3E79-401C-8AE2-7341E4417078}"/>
              </a:ext>
            </a:extLst>
          </p:cNvPr>
          <p:cNvSpPr txBox="1"/>
          <p:nvPr/>
        </p:nvSpPr>
        <p:spPr>
          <a:xfrm>
            <a:off x="6683604" y="5107392"/>
            <a:ext cx="451543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>
                <a:latin typeface="Inter" panose="02000503000000020004" pitchFamily="2" charset="0"/>
                <a:ea typeface="Inter" panose="02000503000000020004" pitchFamily="2" charset="0"/>
              </a:rPr>
              <a:t>Broad market: </a:t>
            </a:r>
            <a:r>
              <a:rPr lang="it-IT" sz="1400" dirty="0">
                <a:latin typeface="Inter" panose="02000503000000020004" pitchFamily="2" charset="0"/>
                <a:ea typeface="Inter" panose="02000503000000020004" pitchFamily="2" charset="0"/>
              </a:rPr>
              <a:t>Over 200,000 </a:t>
            </a:r>
            <a:r>
              <a:rPr lang="it-IT" sz="1400" dirty="0" err="1">
                <a:latin typeface="Inter" panose="02000503000000020004" pitchFamily="2" charset="0"/>
                <a:ea typeface="Inter" panose="02000503000000020004" pitchFamily="2" charset="0"/>
              </a:rPr>
              <a:t>properties</a:t>
            </a:r>
            <a:r>
              <a:rPr lang="it-IT" sz="1400" dirty="0">
                <a:latin typeface="Inter" panose="02000503000000020004" pitchFamily="2" charset="0"/>
                <a:ea typeface="Inter" panose="02000503000000020004" pitchFamily="2" charset="0"/>
              </a:rPr>
              <a:t> </a:t>
            </a:r>
            <a:r>
              <a:rPr lang="it-IT" sz="1400" dirty="0" err="1">
                <a:latin typeface="Inter" panose="02000503000000020004" pitchFamily="2" charset="0"/>
                <a:ea typeface="Inter" panose="02000503000000020004" pitchFamily="2" charset="0"/>
              </a:rPr>
              <a:t>traded</a:t>
            </a:r>
            <a:r>
              <a:rPr lang="it-IT" sz="1400" dirty="0">
                <a:latin typeface="Inter" panose="02000503000000020004" pitchFamily="2" charset="0"/>
                <a:ea typeface="Inter" panose="02000503000000020004" pitchFamily="2" charset="0"/>
              </a:rPr>
              <a:t> in Italy </a:t>
            </a:r>
            <a:r>
              <a:rPr lang="it-IT" sz="1400" dirty="0" err="1">
                <a:latin typeface="Inter" panose="02000503000000020004" pitchFamily="2" charset="0"/>
                <a:ea typeface="Inter" panose="02000503000000020004" pitchFamily="2" charset="0"/>
              </a:rPr>
              <a:t>each</a:t>
            </a:r>
            <a:r>
              <a:rPr lang="it-IT" sz="1400" dirty="0">
                <a:latin typeface="Inter" panose="02000503000000020004" pitchFamily="2" charset="0"/>
                <a:ea typeface="Inter" panose="02000503000000020004" pitchFamily="2" charset="0"/>
              </a:rPr>
              <a:t> </a:t>
            </a:r>
            <a:r>
              <a:rPr lang="it-IT" sz="1400" dirty="0" err="1">
                <a:latin typeface="Inter" panose="02000503000000020004" pitchFamily="2" charset="0"/>
                <a:ea typeface="Inter" panose="02000503000000020004" pitchFamily="2" charset="0"/>
              </a:rPr>
              <a:t>year</a:t>
            </a:r>
            <a:r>
              <a:rPr lang="it-IT" sz="1400" dirty="0">
                <a:latin typeface="Inter" panose="02000503000000020004" pitchFamily="2" charset="0"/>
                <a:ea typeface="Inter" panose="02000503000000020004" pitchFamily="2" charset="0"/>
              </a:rPr>
              <a:t> </a:t>
            </a:r>
            <a:r>
              <a:rPr lang="it-IT" sz="1400" dirty="0" err="1">
                <a:latin typeface="Inter" panose="02000503000000020004" pitchFamily="2" charset="0"/>
                <a:ea typeface="Inter" panose="02000503000000020004" pitchFamily="2" charset="0"/>
              </a:rPr>
              <a:t>through</a:t>
            </a:r>
            <a:r>
              <a:rPr lang="it-IT" sz="1400" dirty="0">
                <a:latin typeface="Inter" panose="02000503000000020004" pitchFamily="2" charset="0"/>
                <a:ea typeface="Inter" panose="02000503000000020004" pitchFamily="2" charset="0"/>
              </a:rPr>
              <a:t> the </a:t>
            </a:r>
            <a:r>
              <a:rPr lang="it-IT" sz="1400" dirty="0" err="1">
                <a:latin typeface="Inter" panose="02000503000000020004" pitchFamily="2" charset="0"/>
                <a:ea typeface="Inter" panose="02000503000000020004" pitchFamily="2" charset="0"/>
              </a:rPr>
              <a:t>judicial</a:t>
            </a:r>
            <a:r>
              <a:rPr lang="it-IT" sz="1400" dirty="0">
                <a:latin typeface="Inter" panose="02000503000000020004" pitchFamily="2" charset="0"/>
                <a:ea typeface="Inter" panose="02000503000000020004" pitchFamily="2" charset="0"/>
              </a:rPr>
              <a:t> </a:t>
            </a:r>
            <a:r>
              <a:rPr lang="it-IT" sz="1400" dirty="0" err="1">
                <a:latin typeface="Inter" panose="02000503000000020004" pitchFamily="2" charset="0"/>
                <a:ea typeface="Inter" panose="02000503000000020004" pitchFamily="2" charset="0"/>
              </a:rPr>
              <a:t>auction</a:t>
            </a:r>
            <a:r>
              <a:rPr lang="it-IT" sz="1400" dirty="0">
                <a:latin typeface="Inter" panose="02000503000000020004" pitchFamily="2" charset="0"/>
                <a:ea typeface="Inter" panose="02000503000000020004" pitchFamily="2" charset="0"/>
              </a:rPr>
              <a:t> </a:t>
            </a:r>
            <a:r>
              <a:rPr lang="it-IT" sz="1400" dirty="0" err="1">
                <a:latin typeface="Inter" panose="02000503000000020004" pitchFamily="2" charset="0"/>
                <a:ea typeface="Inter" panose="02000503000000020004" pitchFamily="2" charset="0"/>
              </a:rPr>
              <a:t>process</a:t>
            </a:r>
            <a:r>
              <a:rPr lang="it-IT" sz="1400" dirty="0">
                <a:latin typeface="Inter" panose="02000503000000020004" pitchFamily="2" charset="0"/>
                <a:ea typeface="Inter" panose="02000503000000020004" pitchFamily="2" charset="0"/>
              </a:rPr>
              <a:t> with a </a:t>
            </a:r>
            <a:r>
              <a:rPr lang="it-IT" sz="1400" dirty="0" err="1">
                <a:latin typeface="Inter" panose="02000503000000020004" pitchFamily="2" charset="0"/>
                <a:ea typeface="Inter" panose="02000503000000020004" pitchFamily="2" charset="0"/>
              </a:rPr>
              <a:t>value</a:t>
            </a:r>
            <a:r>
              <a:rPr lang="it-IT" sz="1400" dirty="0">
                <a:latin typeface="Inter" panose="02000503000000020004" pitchFamily="2" charset="0"/>
                <a:ea typeface="Inter" panose="02000503000000020004" pitchFamily="2" charset="0"/>
              </a:rPr>
              <a:t> of 28.5 </a:t>
            </a:r>
            <a:r>
              <a:rPr lang="it-IT" sz="1400" dirty="0" err="1">
                <a:latin typeface="Inter" panose="02000503000000020004" pitchFamily="2" charset="0"/>
                <a:ea typeface="Inter" panose="02000503000000020004" pitchFamily="2" charset="0"/>
              </a:rPr>
              <a:t>billion</a:t>
            </a:r>
            <a:r>
              <a:rPr lang="it-IT" sz="1400" dirty="0">
                <a:latin typeface="Inter" panose="02000503000000020004" pitchFamily="2" charset="0"/>
                <a:ea typeface="Inter" panose="02000503000000020004" pitchFamily="2" charset="0"/>
              </a:rPr>
              <a:t> </a:t>
            </a:r>
            <a:r>
              <a:rPr lang="it-IT" sz="1400" dirty="0" err="1">
                <a:latin typeface="Inter" panose="02000503000000020004" pitchFamily="2" charset="0"/>
                <a:ea typeface="Inter" panose="02000503000000020004" pitchFamily="2" charset="0"/>
              </a:rPr>
              <a:t>euros</a:t>
            </a:r>
            <a:endParaRPr lang="it-IT" sz="1400" dirty="0"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58B9321-705A-46FF-B703-5546DEE608A4}"/>
              </a:ext>
            </a:extLst>
          </p:cNvPr>
          <p:cNvGrpSpPr/>
          <p:nvPr/>
        </p:nvGrpSpPr>
        <p:grpSpPr>
          <a:xfrm>
            <a:off x="744717" y="1847654"/>
            <a:ext cx="2733773" cy="3998402"/>
            <a:chOff x="744717" y="1847654"/>
            <a:chExt cx="2733773" cy="3998402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5ACAD98F-15A6-42D9-87DD-1BB073CE26E3}"/>
                </a:ext>
              </a:extLst>
            </p:cNvPr>
            <p:cNvSpPr/>
            <p:nvPr/>
          </p:nvSpPr>
          <p:spPr>
            <a:xfrm>
              <a:off x="744717" y="1847654"/>
              <a:ext cx="2733773" cy="3998402"/>
            </a:xfrm>
            <a:prstGeom prst="roundRect">
              <a:avLst>
                <a:gd name="adj" fmla="val 4943"/>
              </a:avLst>
            </a:prstGeom>
            <a:noFill/>
            <a:ln>
              <a:solidFill>
                <a:srgbClr val="F2E2C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it-IT" dirty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9C4EEDF8-3F4E-4D8E-BFD3-08566BAC9A27}"/>
                </a:ext>
              </a:extLst>
            </p:cNvPr>
            <p:cNvSpPr/>
            <p:nvPr/>
          </p:nvSpPr>
          <p:spPr>
            <a:xfrm>
              <a:off x="845277" y="2637149"/>
              <a:ext cx="2507530" cy="748025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it-IT" b="1" dirty="0" err="1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Income</a:t>
              </a:r>
              <a:endParaRPr lang="it-IT" b="1" dirty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5550B5A-D61A-485A-9EF8-E12305E2BED2}"/>
                </a:ext>
              </a:extLst>
            </p:cNvPr>
            <p:cNvSpPr/>
            <p:nvPr/>
          </p:nvSpPr>
          <p:spPr>
            <a:xfrm>
              <a:off x="845277" y="3098813"/>
              <a:ext cx="2611225" cy="7480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it-IT" sz="1400" dirty="0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High </a:t>
              </a:r>
              <a:r>
                <a:rPr lang="it-IT" sz="1400" dirty="0" err="1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monthly</a:t>
              </a:r>
              <a:r>
                <a:rPr lang="it-IT" sz="1400" dirty="0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 </a:t>
              </a:r>
              <a:r>
                <a:rPr lang="it-IT" sz="1400" dirty="0" err="1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current</a:t>
              </a:r>
              <a:r>
                <a:rPr lang="it-IT" sz="1400" dirty="0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 </a:t>
              </a:r>
              <a:r>
                <a:rPr lang="it-IT" sz="1400" dirty="0" err="1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income</a:t>
              </a:r>
              <a:endParaRPr lang="it-IT" sz="1400" dirty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D394812-61F7-44FA-89D0-733F4CD48878}"/>
                </a:ext>
              </a:extLst>
            </p:cNvPr>
            <p:cNvSpPr/>
            <p:nvPr/>
          </p:nvSpPr>
          <p:spPr>
            <a:xfrm>
              <a:off x="845277" y="3795062"/>
              <a:ext cx="2611225" cy="7480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it-IT" sz="1400" dirty="0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Target </a:t>
              </a:r>
              <a:r>
                <a:rPr lang="it-IT" sz="1400" dirty="0" err="1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yearly</a:t>
              </a:r>
              <a:r>
                <a:rPr lang="it-IT" sz="1400" dirty="0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 </a:t>
              </a:r>
              <a:r>
                <a:rPr lang="it-IT" sz="1400" dirty="0" err="1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returns</a:t>
              </a:r>
              <a:endParaRPr lang="it-IT" sz="1400" dirty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endParaRPr>
            </a:p>
            <a:p>
              <a:r>
                <a:rPr lang="it-IT" sz="1600" dirty="0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10-15%+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ED44B0D-3F01-415F-9073-1AE2AC8FC8DC}"/>
                </a:ext>
              </a:extLst>
            </p:cNvPr>
            <p:cNvSpPr/>
            <p:nvPr/>
          </p:nvSpPr>
          <p:spPr>
            <a:xfrm>
              <a:off x="845277" y="4633553"/>
              <a:ext cx="2611225" cy="7480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it-IT" sz="1400" dirty="0" err="1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Terms</a:t>
              </a:r>
              <a:endParaRPr lang="it-IT" sz="1400" dirty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5970C6D0-D037-4F32-860C-99628F628316}"/>
                </a:ext>
              </a:extLst>
            </p:cNvPr>
            <p:cNvSpPr/>
            <p:nvPr/>
          </p:nvSpPr>
          <p:spPr>
            <a:xfrm>
              <a:off x="845277" y="4385009"/>
              <a:ext cx="2611225" cy="7480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it-IT" sz="1600" dirty="0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1-8yr</a:t>
              </a:r>
            </a:p>
          </p:txBody>
        </p:sp>
        <p:pic>
          <p:nvPicPr>
            <p:cNvPr id="11" name="Graphic 10" descr="Bar graph with upward trend with solid fill">
              <a:extLst>
                <a:ext uri="{FF2B5EF4-FFF2-40B4-BE49-F238E27FC236}">
                  <a16:creationId xmlns:a16="http://schemas.microsoft.com/office/drawing/2014/main" id="{261E2763-EF38-4100-AE95-4C50EC8A2AC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67265" y="2012798"/>
              <a:ext cx="628292" cy="628292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D72F468-8836-4D4A-9DC8-285232F8A50E}"/>
              </a:ext>
            </a:extLst>
          </p:cNvPr>
          <p:cNvGrpSpPr/>
          <p:nvPr/>
        </p:nvGrpSpPr>
        <p:grpSpPr>
          <a:xfrm>
            <a:off x="3557061" y="1847637"/>
            <a:ext cx="2733773" cy="3998402"/>
            <a:chOff x="744717" y="1847654"/>
            <a:chExt cx="2733773" cy="3998402"/>
          </a:xfrm>
        </p:grpSpPr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AF98925E-6375-41AC-A257-C2918017AA2C}"/>
                </a:ext>
              </a:extLst>
            </p:cNvPr>
            <p:cNvSpPr/>
            <p:nvPr/>
          </p:nvSpPr>
          <p:spPr>
            <a:xfrm>
              <a:off x="744717" y="1847654"/>
              <a:ext cx="2733773" cy="3998402"/>
            </a:xfrm>
            <a:prstGeom prst="roundRect">
              <a:avLst>
                <a:gd name="adj" fmla="val 4943"/>
              </a:avLst>
            </a:prstGeom>
            <a:noFill/>
            <a:ln>
              <a:solidFill>
                <a:srgbClr val="F2E2C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it-IT" dirty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7C69A388-2931-4E59-B957-0C25BB4AC36D}"/>
                </a:ext>
              </a:extLst>
            </p:cNvPr>
            <p:cNvSpPr/>
            <p:nvPr/>
          </p:nvSpPr>
          <p:spPr>
            <a:xfrm>
              <a:off x="845277" y="2637149"/>
              <a:ext cx="2507530" cy="748025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it-IT" b="1" dirty="0" err="1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Growth</a:t>
              </a:r>
              <a:endParaRPr lang="it-IT" b="1" dirty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3D7FC6E3-EE11-449B-87D4-067C9FDB3206}"/>
                </a:ext>
              </a:extLst>
            </p:cNvPr>
            <p:cNvSpPr/>
            <p:nvPr/>
          </p:nvSpPr>
          <p:spPr>
            <a:xfrm>
              <a:off x="845277" y="3098813"/>
              <a:ext cx="2611225" cy="7480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it-IT" sz="1400" dirty="0" err="1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Majority</a:t>
              </a:r>
              <a:r>
                <a:rPr lang="it-IT" sz="1400" dirty="0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 of </a:t>
              </a:r>
              <a:r>
                <a:rPr lang="it-IT" sz="1400" dirty="0" err="1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returns</a:t>
              </a:r>
              <a:r>
                <a:rPr lang="it-IT" sz="1400" dirty="0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 </a:t>
              </a:r>
              <a:r>
                <a:rPr lang="it-IT" sz="1400" dirty="0" err="1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expected</a:t>
              </a:r>
              <a:r>
                <a:rPr lang="it-IT" sz="1400" dirty="0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 via capital </a:t>
              </a:r>
              <a:r>
                <a:rPr lang="it-IT" sz="1400" dirty="0" err="1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appreciation</a:t>
              </a:r>
              <a:endParaRPr lang="it-IT" sz="1400" dirty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72994C31-CF66-4E7F-A373-34732A257C0C}"/>
                </a:ext>
              </a:extLst>
            </p:cNvPr>
            <p:cNvSpPr/>
            <p:nvPr/>
          </p:nvSpPr>
          <p:spPr>
            <a:xfrm>
              <a:off x="845277" y="3795062"/>
              <a:ext cx="2611225" cy="7480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it-IT" sz="1400" dirty="0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Target </a:t>
              </a:r>
              <a:r>
                <a:rPr lang="it-IT" sz="1400" dirty="0" err="1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yearly</a:t>
              </a:r>
              <a:r>
                <a:rPr lang="it-IT" sz="1400" dirty="0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 </a:t>
              </a:r>
              <a:r>
                <a:rPr lang="it-IT" sz="1400" dirty="0" err="1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returns</a:t>
              </a:r>
              <a:endParaRPr lang="it-IT" sz="1400" dirty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endParaRPr>
            </a:p>
            <a:p>
              <a:r>
                <a:rPr lang="it-IT" sz="1600" dirty="0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10-25%+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D5DA975B-BFAB-4B77-92D5-8405112DDA4A}"/>
                </a:ext>
              </a:extLst>
            </p:cNvPr>
            <p:cNvSpPr/>
            <p:nvPr/>
          </p:nvSpPr>
          <p:spPr>
            <a:xfrm>
              <a:off x="845277" y="4633553"/>
              <a:ext cx="2611225" cy="7480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it-IT" sz="1400" dirty="0" err="1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Terms</a:t>
              </a:r>
              <a:endParaRPr lang="it-IT" sz="1400" dirty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CC6E9EF8-306D-4305-B2F9-00963CCC56DA}"/>
                </a:ext>
              </a:extLst>
            </p:cNvPr>
            <p:cNvSpPr/>
            <p:nvPr/>
          </p:nvSpPr>
          <p:spPr>
            <a:xfrm>
              <a:off x="845277" y="4385009"/>
              <a:ext cx="2611225" cy="7480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it-IT" sz="1600" dirty="0">
                  <a:solidFill>
                    <a:schemeClr val="tx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6m-2yr</a:t>
              </a:r>
            </a:p>
          </p:txBody>
        </p: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7E29228D-B85A-4BF4-A00D-FA7BC47CC2F9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8144" t="31429" r="87784" b="61588"/>
          <a:stretch/>
        </p:blipFill>
        <p:spPr>
          <a:xfrm>
            <a:off x="3910637" y="2112995"/>
            <a:ext cx="496477" cy="478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168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BB466E-31F0-4F06-B874-1C7B729BC6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BB466E-31F0-4F06-B874-1C7B729BC6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B5356F45-3B6A-4C01-B098-687217640885}"/>
              </a:ext>
            </a:extLst>
          </p:cNvPr>
          <p:cNvSpPr/>
          <p:nvPr/>
        </p:nvSpPr>
        <p:spPr>
          <a:xfrm>
            <a:off x="0" y="-19594"/>
            <a:ext cx="12192000" cy="764771"/>
          </a:xfrm>
          <a:prstGeom prst="rect">
            <a:avLst/>
          </a:prstGeom>
          <a:solidFill>
            <a:srgbClr val="223A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5FA16E-9196-4C66-B602-E8DAD1AE22D7}"/>
              </a:ext>
            </a:extLst>
          </p:cNvPr>
          <p:cNvSpPr/>
          <p:nvPr/>
        </p:nvSpPr>
        <p:spPr>
          <a:xfrm>
            <a:off x="0" y="0"/>
            <a:ext cx="1489435" cy="76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err="1">
                <a:latin typeface="Inter" panose="02000503000000020004" pitchFamily="2" charset="0"/>
                <a:ea typeface="Inter" panose="02000503000000020004" pitchFamily="2" charset="0"/>
              </a:rPr>
              <a:t>AstaCert</a:t>
            </a:r>
            <a:endParaRPr lang="it-IT" dirty="0"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14A1F4F-C58D-4A2E-982D-E0FE0E9E8447}"/>
              </a:ext>
            </a:extLst>
          </p:cNvPr>
          <p:cNvSpPr/>
          <p:nvPr/>
        </p:nvSpPr>
        <p:spPr>
          <a:xfrm>
            <a:off x="10702565" y="-740"/>
            <a:ext cx="1489435" cy="76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latin typeface="Inter" panose="02000503000000020004" pitchFamily="2" charset="0"/>
                <a:ea typeface="Inter" panose="02000503000000020004" pitchFamily="2" charset="0"/>
              </a:rPr>
              <a:t>Contac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8B14458-C0F1-4E24-816C-69BD2020C8E7}"/>
              </a:ext>
            </a:extLst>
          </p:cNvPr>
          <p:cNvSpPr/>
          <p:nvPr/>
        </p:nvSpPr>
        <p:spPr>
          <a:xfrm>
            <a:off x="9213130" y="-18854"/>
            <a:ext cx="1489435" cy="76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latin typeface="Inter" panose="02000503000000020004" pitchFamily="2" charset="0"/>
                <a:ea typeface="Inter" panose="02000503000000020004" pitchFamily="2" charset="0"/>
              </a:rPr>
              <a:t>Abou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DA6C5E8-3FA2-4D0F-B774-6D621816754B}"/>
              </a:ext>
            </a:extLst>
          </p:cNvPr>
          <p:cNvSpPr txBox="1"/>
          <p:nvPr/>
        </p:nvSpPr>
        <p:spPr>
          <a:xfrm>
            <a:off x="744717" y="1864649"/>
            <a:ext cx="55507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</a:rPr>
              <a:t>2 - INV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9C9C38D-9F43-4026-B334-80FE5ADC4728}"/>
              </a:ext>
            </a:extLst>
          </p:cNvPr>
          <p:cNvSpPr txBox="1"/>
          <p:nvPr/>
        </p:nvSpPr>
        <p:spPr>
          <a:xfrm>
            <a:off x="744717" y="2216986"/>
            <a:ext cx="492079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dirty="0">
                <a:latin typeface="Inter" panose="02000503000000020004" pitchFamily="2" charset="0"/>
                <a:ea typeface="Inter" panose="02000503000000020004" pitchFamily="2" charset="0"/>
              </a:rPr>
              <a:t>Invest with confidence</a:t>
            </a:r>
          </a:p>
          <a:p>
            <a:endParaRPr lang="en-US" sz="1600" dirty="0">
              <a:solidFill>
                <a:srgbClr val="3E3E40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  <a:p>
            <a:r>
              <a:rPr lang="en-US" sz="1600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</a:rPr>
              <a:t>A thorough due diligence process accompanies each investment advice.</a:t>
            </a:r>
            <a:endParaRPr lang="en-US" sz="1600" b="0" i="0" dirty="0">
              <a:solidFill>
                <a:srgbClr val="3E3E40"/>
              </a:solidFill>
              <a:effectLst/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45C3DDE-1AC3-4B1A-A816-B5B2579FB1C2}"/>
              </a:ext>
            </a:extLst>
          </p:cNvPr>
          <p:cNvGrpSpPr/>
          <p:nvPr/>
        </p:nvGrpSpPr>
        <p:grpSpPr>
          <a:xfrm>
            <a:off x="838466" y="3846138"/>
            <a:ext cx="197963" cy="197963"/>
            <a:chOff x="6372000" y="4430599"/>
            <a:chExt cx="197963" cy="197963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BC7AEF5A-B285-4879-90D6-54EA46591984}"/>
                </a:ext>
              </a:extLst>
            </p:cNvPr>
            <p:cNvSpPr/>
            <p:nvPr/>
          </p:nvSpPr>
          <p:spPr>
            <a:xfrm>
              <a:off x="6372000" y="4430599"/>
              <a:ext cx="197963" cy="197963"/>
            </a:xfrm>
            <a:prstGeom prst="ellipse">
              <a:avLst/>
            </a:prstGeom>
            <a:solidFill>
              <a:srgbClr val="F2E2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  <p:pic>
          <p:nvPicPr>
            <p:cNvPr id="16" name="Graphic 15" descr="Checkmark with solid fill">
              <a:extLst>
                <a:ext uri="{FF2B5EF4-FFF2-40B4-BE49-F238E27FC236}">
                  <a16:creationId xmlns:a16="http://schemas.microsoft.com/office/drawing/2014/main" id="{75DE56B9-C6AF-410F-9802-51F4A0F3785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416560" y="4475159"/>
              <a:ext cx="108843" cy="108843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097271D-EAAB-4E8E-8AA2-77F1EDCE9549}"/>
              </a:ext>
            </a:extLst>
          </p:cNvPr>
          <p:cNvGrpSpPr/>
          <p:nvPr/>
        </p:nvGrpSpPr>
        <p:grpSpPr>
          <a:xfrm>
            <a:off x="840521" y="4648988"/>
            <a:ext cx="197963" cy="197963"/>
            <a:chOff x="6372000" y="4430599"/>
            <a:chExt cx="197963" cy="197963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B8152AC3-BD7B-4D2D-9AF4-271B5FD2D929}"/>
                </a:ext>
              </a:extLst>
            </p:cNvPr>
            <p:cNvSpPr/>
            <p:nvPr/>
          </p:nvSpPr>
          <p:spPr>
            <a:xfrm>
              <a:off x="6372000" y="4430599"/>
              <a:ext cx="197963" cy="197963"/>
            </a:xfrm>
            <a:prstGeom prst="ellipse">
              <a:avLst/>
            </a:prstGeom>
            <a:solidFill>
              <a:srgbClr val="F2E2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  <p:pic>
          <p:nvPicPr>
            <p:cNvPr id="27" name="Graphic 26" descr="Checkmark with solid fill">
              <a:extLst>
                <a:ext uri="{FF2B5EF4-FFF2-40B4-BE49-F238E27FC236}">
                  <a16:creationId xmlns:a16="http://schemas.microsoft.com/office/drawing/2014/main" id="{1DECBF84-143B-4FD4-A4A4-6226371367E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416560" y="4475159"/>
              <a:ext cx="108843" cy="108843"/>
            </a:xfrm>
            <a:prstGeom prst="rect">
              <a:avLst/>
            </a:prstGeom>
          </p:spPr>
        </p:pic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4882915A-7D6E-4340-99B6-FEA5D9073EDF}"/>
              </a:ext>
            </a:extLst>
          </p:cNvPr>
          <p:cNvSpPr txBox="1"/>
          <p:nvPr/>
        </p:nvSpPr>
        <p:spPr>
          <a:xfrm>
            <a:off x="1150070" y="3738955"/>
            <a:ext cx="451543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Inter" panose="02000503000000020004" pitchFamily="2" charset="0"/>
                <a:ea typeface="Inter" panose="02000503000000020004" pitchFamily="2" charset="0"/>
              </a:rPr>
              <a:t>Highly skilled professionals: </a:t>
            </a:r>
            <a:r>
              <a:rPr lang="en-US" sz="1400" dirty="0">
                <a:latin typeface="Inter" panose="02000503000000020004" pitchFamily="2" charset="0"/>
                <a:ea typeface="Inter" panose="02000503000000020004" pitchFamily="2" charset="0"/>
              </a:rPr>
              <a:t>We work with Engineers, Lawyers and Architects to analyze each property’s potentiality</a:t>
            </a:r>
            <a:endParaRPr lang="it-IT" sz="1400" dirty="0"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114BA6F-3E79-401C-8AE2-7341E4417078}"/>
              </a:ext>
            </a:extLst>
          </p:cNvPr>
          <p:cNvSpPr txBox="1"/>
          <p:nvPr/>
        </p:nvSpPr>
        <p:spPr>
          <a:xfrm>
            <a:off x="1150070" y="4477619"/>
            <a:ext cx="451543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>
                <a:latin typeface="Inter" panose="02000503000000020004" pitchFamily="2" charset="0"/>
                <a:ea typeface="Inter" panose="02000503000000020004" pitchFamily="2" charset="0"/>
              </a:rPr>
              <a:t>Low risk: </a:t>
            </a:r>
            <a:r>
              <a:rPr lang="en-US" sz="1400" dirty="0">
                <a:latin typeface="Inter" panose="02000503000000020004" pitchFamily="2" charset="0"/>
                <a:ea typeface="Inter" panose="02000503000000020004" pitchFamily="2" charset="0"/>
              </a:rPr>
              <a:t>Usually, we do not renovate our proprieties: our strategy is to buy and sell the way they are without any further expenses</a:t>
            </a:r>
            <a:endParaRPr lang="it-IT" sz="1400" dirty="0"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pic>
        <p:nvPicPr>
          <p:cNvPr id="2050" name="Picture 2" descr="5 Strategies To Build Unshakable Self-Confidence">
            <a:extLst>
              <a:ext uri="{FF2B5EF4-FFF2-40B4-BE49-F238E27FC236}">
                <a16:creationId xmlns:a16="http://schemas.microsoft.com/office/drawing/2014/main" id="{9B8D7871-A182-4919-AFF9-E5073A1C2C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0394" y="2171154"/>
            <a:ext cx="5516912" cy="3103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8B9A07F-58AA-4154-BC1C-F754817AB67F}"/>
              </a:ext>
            </a:extLst>
          </p:cNvPr>
          <p:cNvSpPr/>
          <p:nvPr/>
        </p:nvSpPr>
        <p:spPr>
          <a:xfrm>
            <a:off x="7296346" y="1150070"/>
            <a:ext cx="3186260" cy="132343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In 3d bianco</a:t>
            </a:r>
          </a:p>
          <a:p>
            <a:pPr algn="ctr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0587146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BB466E-31F0-4F06-B874-1C7B729BC6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BB466E-31F0-4F06-B874-1C7B729BC6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B5356F45-3B6A-4C01-B098-687217640885}"/>
              </a:ext>
            </a:extLst>
          </p:cNvPr>
          <p:cNvSpPr/>
          <p:nvPr/>
        </p:nvSpPr>
        <p:spPr>
          <a:xfrm>
            <a:off x="0" y="-38448"/>
            <a:ext cx="12192000" cy="764771"/>
          </a:xfrm>
          <a:prstGeom prst="rect">
            <a:avLst/>
          </a:prstGeom>
          <a:solidFill>
            <a:srgbClr val="223A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5FA16E-9196-4C66-B602-E8DAD1AE22D7}"/>
              </a:ext>
            </a:extLst>
          </p:cNvPr>
          <p:cNvSpPr/>
          <p:nvPr/>
        </p:nvSpPr>
        <p:spPr>
          <a:xfrm>
            <a:off x="0" y="0"/>
            <a:ext cx="1489435" cy="76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err="1">
                <a:latin typeface="Inter" panose="02000503000000020004" pitchFamily="2" charset="0"/>
                <a:ea typeface="Inter" panose="02000503000000020004" pitchFamily="2" charset="0"/>
              </a:rPr>
              <a:t>AstaCert</a:t>
            </a:r>
            <a:endParaRPr lang="it-IT" dirty="0"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14A1F4F-C58D-4A2E-982D-E0FE0E9E8447}"/>
              </a:ext>
            </a:extLst>
          </p:cNvPr>
          <p:cNvSpPr/>
          <p:nvPr/>
        </p:nvSpPr>
        <p:spPr>
          <a:xfrm>
            <a:off x="10702565" y="-740"/>
            <a:ext cx="1489435" cy="76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latin typeface="Inter" panose="02000503000000020004" pitchFamily="2" charset="0"/>
                <a:ea typeface="Inter" panose="02000503000000020004" pitchFamily="2" charset="0"/>
              </a:rPr>
              <a:t>Contac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8B14458-C0F1-4E24-816C-69BD2020C8E7}"/>
              </a:ext>
            </a:extLst>
          </p:cNvPr>
          <p:cNvSpPr/>
          <p:nvPr/>
        </p:nvSpPr>
        <p:spPr>
          <a:xfrm>
            <a:off x="9213130" y="-18854"/>
            <a:ext cx="1489435" cy="76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latin typeface="Inter" panose="02000503000000020004" pitchFamily="2" charset="0"/>
                <a:ea typeface="Inter" panose="02000503000000020004" pitchFamily="2" charset="0"/>
              </a:rPr>
              <a:t>Abou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DA6C5E8-3FA2-4D0F-B774-6D621816754B}"/>
              </a:ext>
            </a:extLst>
          </p:cNvPr>
          <p:cNvSpPr txBox="1"/>
          <p:nvPr/>
        </p:nvSpPr>
        <p:spPr>
          <a:xfrm>
            <a:off x="6278251" y="1847654"/>
            <a:ext cx="55507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</a:rPr>
              <a:t>3 - EAR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9C9C38D-9F43-4026-B334-80FE5ADC4728}"/>
              </a:ext>
            </a:extLst>
          </p:cNvPr>
          <p:cNvSpPr txBox="1"/>
          <p:nvPr/>
        </p:nvSpPr>
        <p:spPr>
          <a:xfrm>
            <a:off x="6278251" y="2216986"/>
            <a:ext cx="492079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dirty="0" err="1">
                <a:latin typeface="Inter" panose="02000503000000020004" pitchFamily="2" charset="0"/>
                <a:ea typeface="Inter" panose="02000503000000020004" pitchFamily="2" charset="0"/>
              </a:rPr>
              <a:t>Resell</a:t>
            </a:r>
            <a:r>
              <a:rPr lang="it-IT" sz="3200" dirty="0">
                <a:latin typeface="Inter" panose="02000503000000020004" pitchFamily="2" charset="0"/>
                <a:ea typeface="Inter" panose="02000503000000020004" pitchFamily="2" charset="0"/>
              </a:rPr>
              <a:t> </a:t>
            </a:r>
            <a:r>
              <a:rPr lang="it-IT" sz="3200" dirty="0" err="1">
                <a:latin typeface="Inter" panose="02000503000000020004" pitchFamily="2" charset="0"/>
                <a:ea typeface="Inter" panose="02000503000000020004" pitchFamily="2" charset="0"/>
              </a:rPr>
              <a:t>it</a:t>
            </a:r>
            <a:r>
              <a:rPr lang="it-IT" sz="3200" dirty="0">
                <a:latin typeface="Inter" panose="02000503000000020004" pitchFamily="2" charset="0"/>
                <a:ea typeface="Inter" panose="02000503000000020004" pitchFamily="2" charset="0"/>
              </a:rPr>
              <a:t> or </a:t>
            </a:r>
            <a:r>
              <a:rPr lang="it-IT" sz="3200" dirty="0" err="1">
                <a:latin typeface="Inter" panose="02000503000000020004" pitchFamily="2" charset="0"/>
                <a:ea typeface="Inter" panose="02000503000000020004" pitchFamily="2" charset="0"/>
              </a:rPr>
              <a:t>Rent</a:t>
            </a:r>
            <a:r>
              <a:rPr lang="it-IT" sz="3200" dirty="0">
                <a:latin typeface="Inter" panose="02000503000000020004" pitchFamily="2" charset="0"/>
                <a:ea typeface="Inter" panose="02000503000000020004" pitchFamily="2" charset="0"/>
              </a:rPr>
              <a:t> </a:t>
            </a:r>
            <a:r>
              <a:rPr lang="it-IT" sz="3200" dirty="0" err="1">
                <a:latin typeface="Inter" panose="02000503000000020004" pitchFamily="2" charset="0"/>
                <a:ea typeface="Inter" panose="02000503000000020004" pitchFamily="2" charset="0"/>
              </a:rPr>
              <a:t>it</a:t>
            </a:r>
            <a:endParaRPr lang="it-IT" sz="3200" dirty="0">
              <a:latin typeface="Inter" panose="02000503000000020004" pitchFamily="2" charset="0"/>
              <a:ea typeface="Inter" panose="02000503000000020004" pitchFamily="2" charset="0"/>
            </a:endParaRPr>
          </a:p>
          <a:p>
            <a:endParaRPr lang="en-US" sz="1600" dirty="0">
              <a:solidFill>
                <a:srgbClr val="3E3E40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  <a:p>
            <a:r>
              <a:rPr lang="en-US" sz="1600" dirty="0">
                <a:solidFill>
                  <a:srgbClr val="3E3E40"/>
                </a:solidFill>
                <a:latin typeface="Inter" panose="02000503000000020004" pitchFamily="2" charset="0"/>
                <a:ea typeface="Inter" panose="02000503000000020004" pitchFamily="2" charset="0"/>
              </a:rPr>
              <a:t>Are you looking for a short-term lucrative operation or a stable passive source of income?</a:t>
            </a:r>
            <a:endParaRPr lang="en-US" sz="1600" b="0" i="0" dirty="0">
              <a:solidFill>
                <a:srgbClr val="3E3E40"/>
              </a:solidFill>
              <a:effectLst/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45C3DDE-1AC3-4B1A-A816-B5B2579FB1C2}"/>
              </a:ext>
            </a:extLst>
          </p:cNvPr>
          <p:cNvGrpSpPr/>
          <p:nvPr/>
        </p:nvGrpSpPr>
        <p:grpSpPr>
          <a:xfrm>
            <a:off x="6372000" y="3757421"/>
            <a:ext cx="197963" cy="197963"/>
            <a:chOff x="6372000" y="4430599"/>
            <a:chExt cx="197963" cy="197963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BC7AEF5A-B285-4879-90D6-54EA46591984}"/>
                </a:ext>
              </a:extLst>
            </p:cNvPr>
            <p:cNvSpPr/>
            <p:nvPr/>
          </p:nvSpPr>
          <p:spPr>
            <a:xfrm>
              <a:off x="6372000" y="4430599"/>
              <a:ext cx="197963" cy="197963"/>
            </a:xfrm>
            <a:prstGeom prst="ellipse">
              <a:avLst/>
            </a:prstGeom>
            <a:solidFill>
              <a:srgbClr val="F2E2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  <p:pic>
          <p:nvPicPr>
            <p:cNvPr id="16" name="Graphic 15" descr="Checkmark with solid fill">
              <a:extLst>
                <a:ext uri="{FF2B5EF4-FFF2-40B4-BE49-F238E27FC236}">
                  <a16:creationId xmlns:a16="http://schemas.microsoft.com/office/drawing/2014/main" id="{75DE56B9-C6AF-410F-9802-51F4A0F3785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416560" y="4475159"/>
              <a:ext cx="108843" cy="108843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097271D-EAAB-4E8E-8AA2-77F1EDCE9549}"/>
              </a:ext>
            </a:extLst>
          </p:cNvPr>
          <p:cNvGrpSpPr/>
          <p:nvPr/>
        </p:nvGrpSpPr>
        <p:grpSpPr>
          <a:xfrm>
            <a:off x="6374055" y="4560271"/>
            <a:ext cx="197963" cy="197963"/>
            <a:chOff x="6372000" y="4430599"/>
            <a:chExt cx="197963" cy="197963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B8152AC3-BD7B-4D2D-9AF4-271B5FD2D929}"/>
                </a:ext>
              </a:extLst>
            </p:cNvPr>
            <p:cNvSpPr/>
            <p:nvPr/>
          </p:nvSpPr>
          <p:spPr>
            <a:xfrm>
              <a:off x="6372000" y="4430599"/>
              <a:ext cx="197963" cy="197963"/>
            </a:xfrm>
            <a:prstGeom prst="ellipse">
              <a:avLst/>
            </a:prstGeom>
            <a:solidFill>
              <a:srgbClr val="F2E2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  <p:pic>
          <p:nvPicPr>
            <p:cNvPr id="27" name="Graphic 26" descr="Checkmark with solid fill">
              <a:extLst>
                <a:ext uri="{FF2B5EF4-FFF2-40B4-BE49-F238E27FC236}">
                  <a16:creationId xmlns:a16="http://schemas.microsoft.com/office/drawing/2014/main" id="{1DECBF84-143B-4FD4-A4A4-6226371367E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416560" y="4475159"/>
              <a:ext cx="108843" cy="108843"/>
            </a:xfrm>
            <a:prstGeom prst="rect">
              <a:avLst/>
            </a:prstGeom>
          </p:spPr>
        </p:pic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4882915A-7D6E-4340-99B6-FEA5D9073EDF}"/>
              </a:ext>
            </a:extLst>
          </p:cNvPr>
          <p:cNvSpPr txBox="1"/>
          <p:nvPr/>
        </p:nvSpPr>
        <p:spPr>
          <a:xfrm>
            <a:off x="6683604" y="3687125"/>
            <a:ext cx="45154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>
                <a:latin typeface="Inter" panose="02000503000000020004" pitchFamily="2" charset="0"/>
                <a:ea typeface="Inter" panose="02000503000000020004" pitchFamily="2" charset="0"/>
              </a:rPr>
              <a:t>Sell: </a:t>
            </a:r>
            <a:r>
              <a:rPr lang="en-US" sz="1400" dirty="0">
                <a:latin typeface="Inter" panose="02000503000000020004" pitchFamily="2" charset="0"/>
                <a:ea typeface="Inter" panose="02000503000000020004" pitchFamily="2" charset="0"/>
              </a:rPr>
              <a:t>We aim to </a:t>
            </a:r>
            <a:r>
              <a:rPr lang="en-US" sz="1400" dirty="0" err="1">
                <a:latin typeface="Inter" panose="02000503000000020004" pitchFamily="2" charset="0"/>
                <a:ea typeface="Inter" panose="02000503000000020004" pitchFamily="2" charset="0"/>
              </a:rPr>
              <a:t>maximalize</a:t>
            </a:r>
            <a:r>
              <a:rPr lang="en-US" sz="1400" dirty="0">
                <a:latin typeface="Inter" panose="02000503000000020004" pitchFamily="2" charset="0"/>
                <a:ea typeface="Inter" panose="02000503000000020004" pitchFamily="2" charset="0"/>
              </a:rPr>
              <a:t> your profit by keeping near zero refurbishment costs</a:t>
            </a:r>
            <a:endParaRPr lang="it-IT" sz="1400" dirty="0"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114BA6F-3E79-401C-8AE2-7341E4417078}"/>
              </a:ext>
            </a:extLst>
          </p:cNvPr>
          <p:cNvSpPr txBox="1"/>
          <p:nvPr/>
        </p:nvSpPr>
        <p:spPr>
          <a:xfrm>
            <a:off x="6683604" y="4434214"/>
            <a:ext cx="45154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 err="1">
                <a:latin typeface="Inter" panose="02000503000000020004" pitchFamily="2" charset="0"/>
                <a:ea typeface="Inter" panose="02000503000000020004" pitchFamily="2" charset="0"/>
              </a:rPr>
              <a:t>Rent</a:t>
            </a:r>
            <a:r>
              <a:rPr lang="it-IT" sz="1400" b="1" dirty="0">
                <a:latin typeface="Inter" panose="02000503000000020004" pitchFamily="2" charset="0"/>
                <a:ea typeface="Inter" panose="02000503000000020004" pitchFamily="2" charset="0"/>
              </a:rPr>
              <a:t>: </a:t>
            </a:r>
            <a:r>
              <a:rPr lang="en-US" sz="1400" dirty="0">
                <a:latin typeface="Inter" panose="02000503000000020004" pitchFamily="2" charset="0"/>
                <a:ea typeface="Inter" panose="02000503000000020004" pitchFamily="2" charset="0"/>
              </a:rPr>
              <a:t>We seek for high trustworthy tenants that want to build long-lasting relationships</a:t>
            </a:r>
            <a:endParaRPr lang="it-IT" sz="1400" dirty="0"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4C76F5B-B672-4894-9DC4-516AC89577FD}"/>
              </a:ext>
            </a:extLst>
          </p:cNvPr>
          <p:cNvSpPr/>
          <p:nvPr/>
        </p:nvSpPr>
        <p:spPr>
          <a:xfrm>
            <a:off x="348792" y="2017336"/>
            <a:ext cx="2262433" cy="3828720"/>
          </a:xfrm>
          <a:prstGeom prst="roundRect">
            <a:avLst/>
          </a:prstGeom>
          <a:solidFill>
            <a:srgbClr val="223A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9FC2C25F-B5D1-41AE-8D01-E548339EE3C0}"/>
              </a:ext>
            </a:extLst>
          </p:cNvPr>
          <p:cNvSpPr/>
          <p:nvPr/>
        </p:nvSpPr>
        <p:spPr>
          <a:xfrm>
            <a:off x="2827781" y="2017336"/>
            <a:ext cx="2262433" cy="3828720"/>
          </a:xfrm>
          <a:prstGeom prst="roundRect">
            <a:avLst/>
          </a:prstGeom>
          <a:solidFill>
            <a:srgbClr val="F2E2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A9944B3-727B-4E7C-81F9-FBC1E4D6DF01}"/>
              </a:ext>
            </a:extLst>
          </p:cNvPr>
          <p:cNvSpPr/>
          <p:nvPr/>
        </p:nvSpPr>
        <p:spPr>
          <a:xfrm>
            <a:off x="348792" y="2216986"/>
            <a:ext cx="2262433" cy="6676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5400" b="1" dirty="0">
                <a:latin typeface="Inter" panose="02000503000000020004" pitchFamily="2" charset="0"/>
                <a:ea typeface="Inter" panose="02000503000000020004" pitchFamily="2" charset="0"/>
              </a:rPr>
              <a:t>SELL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D1519E5B-03D0-4A44-B0DC-FDDFE59BB199}"/>
              </a:ext>
            </a:extLst>
          </p:cNvPr>
          <p:cNvSpPr/>
          <p:nvPr/>
        </p:nvSpPr>
        <p:spPr>
          <a:xfrm>
            <a:off x="2827780" y="5142916"/>
            <a:ext cx="2262433" cy="6676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5400" b="1" dirty="0">
                <a:solidFill>
                  <a:srgbClr val="223A59"/>
                </a:solidFill>
                <a:latin typeface="Inter" panose="02000503000000020004" pitchFamily="2" charset="0"/>
                <a:ea typeface="Inter" panose="02000503000000020004" pitchFamily="2" charset="0"/>
              </a:rPr>
              <a:t>RENT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BFCCC370-1F09-41A4-A854-0C9EC726C102}"/>
              </a:ext>
            </a:extLst>
          </p:cNvPr>
          <p:cNvSpPr/>
          <p:nvPr/>
        </p:nvSpPr>
        <p:spPr>
          <a:xfrm>
            <a:off x="1063463" y="4957434"/>
            <a:ext cx="126301" cy="12630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EC3BE2F9-3520-4363-BAB3-561C69D5964C}"/>
              </a:ext>
            </a:extLst>
          </p:cNvPr>
          <p:cNvSpPr/>
          <p:nvPr/>
        </p:nvSpPr>
        <p:spPr>
          <a:xfrm>
            <a:off x="1311704" y="4456725"/>
            <a:ext cx="500709" cy="50070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175247B5-0FB1-4D33-9E24-D83B5565611E}"/>
              </a:ext>
            </a:extLst>
          </p:cNvPr>
          <p:cNvSpPr/>
          <p:nvPr/>
        </p:nvSpPr>
        <p:spPr>
          <a:xfrm>
            <a:off x="3200335" y="3238398"/>
            <a:ext cx="126301" cy="126301"/>
          </a:xfrm>
          <a:prstGeom prst="ellipse">
            <a:avLst/>
          </a:prstGeom>
          <a:solidFill>
            <a:srgbClr val="223A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0460ED7C-8660-4255-B2B3-A243BE337453}"/>
              </a:ext>
            </a:extLst>
          </p:cNvPr>
          <p:cNvSpPr/>
          <p:nvPr/>
        </p:nvSpPr>
        <p:spPr>
          <a:xfrm>
            <a:off x="4059292" y="2320797"/>
            <a:ext cx="500709" cy="500709"/>
          </a:xfrm>
          <a:prstGeom prst="ellipse">
            <a:avLst/>
          </a:prstGeom>
          <a:solidFill>
            <a:srgbClr val="223A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D32BF312-568A-4EB9-939C-DDB3BEFEBC8A}"/>
              </a:ext>
            </a:extLst>
          </p:cNvPr>
          <p:cNvSpPr/>
          <p:nvPr/>
        </p:nvSpPr>
        <p:spPr>
          <a:xfrm>
            <a:off x="3405134" y="3034368"/>
            <a:ext cx="204030" cy="204030"/>
          </a:xfrm>
          <a:prstGeom prst="ellipse">
            <a:avLst/>
          </a:prstGeom>
          <a:solidFill>
            <a:srgbClr val="223A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25995C2E-80D7-4DBB-89B7-F52F04657F98}"/>
              </a:ext>
            </a:extLst>
          </p:cNvPr>
          <p:cNvSpPr/>
          <p:nvPr/>
        </p:nvSpPr>
        <p:spPr>
          <a:xfrm>
            <a:off x="3687662" y="2723484"/>
            <a:ext cx="293132" cy="293132"/>
          </a:xfrm>
          <a:prstGeom prst="ellipse">
            <a:avLst/>
          </a:prstGeom>
          <a:solidFill>
            <a:srgbClr val="223A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926752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BB466E-31F0-4F06-B874-1C7B729BC6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BB466E-31F0-4F06-B874-1C7B729BC6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B5356F45-3B6A-4C01-B098-687217640885}"/>
              </a:ext>
            </a:extLst>
          </p:cNvPr>
          <p:cNvSpPr/>
          <p:nvPr/>
        </p:nvSpPr>
        <p:spPr>
          <a:xfrm>
            <a:off x="0" y="-19594"/>
            <a:ext cx="12192000" cy="764771"/>
          </a:xfrm>
          <a:prstGeom prst="rect">
            <a:avLst/>
          </a:prstGeom>
          <a:solidFill>
            <a:srgbClr val="223A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5FA16E-9196-4C66-B602-E8DAD1AE22D7}"/>
              </a:ext>
            </a:extLst>
          </p:cNvPr>
          <p:cNvSpPr/>
          <p:nvPr/>
        </p:nvSpPr>
        <p:spPr>
          <a:xfrm>
            <a:off x="0" y="0"/>
            <a:ext cx="1489435" cy="76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err="1">
                <a:latin typeface="Inter" panose="02000503000000020004" pitchFamily="2" charset="0"/>
                <a:ea typeface="Inter" panose="02000503000000020004" pitchFamily="2" charset="0"/>
              </a:rPr>
              <a:t>AstaCert</a:t>
            </a:r>
            <a:endParaRPr lang="it-IT" dirty="0"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14A1F4F-C58D-4A2E-982D-E0FE0E9E8447}"/>
              </a:ext>
            </a:extLst>
          </p:cNvPr>
          <p:cNvSpPr/>
          <p:nvPr/>
        </p:nvSpPr>
        <p:spPr>
          <a:xfrm>
            <a:off x="10702565" y="-740"/>
            <a:ext cx="1489435" cy="76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latin typeface="Inter" panose="02000503000000020004" pitchFamily="2" charset="0"/>
                <a:ea typeface="Inter" panose="02000503000000020004" pitchFamily="2" charset="0"/>
              </a:rPr>
              <a:t>Contac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8B14458-C0F1-4E24-816C-69BD2020C8E7}"/>
              </a:ext>
            </a:extLst>
          </p:cNvPr>
          <p:cNvSpPr/>
          <p:nvPr/>
        </p:nvSpPr>
        <p:spPr>
          <a:xfrm>
            <a:off x="9213130" y="-18854"/>
            <a:ext cx="1489435" cy="76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latin typeface="Inter" panose="02000503000000020004" pitchFamily="2" charset="0"/>
                <a:ea typeface="Inter" panose="02000503000000020004" pitchFamily="2" charset="0"/>
              </a:rPr>
              <a:t>Abou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7451947-7F4E-4A85-9685-23A16CBD9C8F}"/>
              </a:ext>
            </a:extLst>
          </p:cNvPr>
          <p:cNvSpPr txBox="1"/>
          <p:nvPr/>
        </p:nvSpPr>
        <p:spPr>
          <a:xfrm>
            <a:off x="0" y="1258937"/>
            <a:ext cx="1219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3200" b="1" dirty="0" err="1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Why</a:t>
            </a:r>
            <a:r>
              <a:rPr lang="it-IT" sz="3200" b="1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</a:t>
            </a:r>
            <a:r>
              <a:rPr lang="it-IT" sz="3200" b="1" dirty="0" err="1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us</a:t>
            </a:r>
            <a:r>
              <a:rPr lang="it-IT" sz="3200" b="1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?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524631F-3D7A-4852-BE5B-DB3070DBA0A1}"/>
              </a:ext>
            </a:extLst>
          </p:cNvPr>
          <p:cNvSpPr txBox="1"/>
          <p:nvPr/>
        </p:nvSpPr>
        <p:spPr>
          <a:xfrm>
            <a:off x="0" y="2644170"/>
            <a:ext cx="434889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4000" b="1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+€20M</a:t>
            </a:r>
          </a:p>
          <a:p>
            <a:pPr algn="ctr"/>
            <a:r>
              <a:rPr lang="it-IT" sz="1600" b="1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of </a:t>
            </a:r>
            <a:r>
              <a:rPr lang="it-IT" sz="1600" b="1" dirty="0" err="1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properties</a:t>
            </a:r>
            <a:r>
              <a:rPr lang="it-IT" sz="1600" b="1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</a:t>
            </a:r>
            <a:r>
              <a:rPr lang="it-IT" sz="1600" b="1" dirty="0" err="1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traded</a:t>
            </a:r>
            <a:r>
              <a:rPr lang="it-IT" sz="1600" b="1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</a:t>
            </a:r>
            <a:r>
              <a:rPr lang="it-IT" sz="1600" b="1" dirty="0" err="1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since</a:t>
            </a:r>
            <a:r>
              <a:rPr lang="it-IT" sz="1600" b="1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</a:t>
            </a:r>
            <a:r>
              <a:rPr lang="it-IT" sz="1600" b="1" dirty="0" err="1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foundation</a:t>
            </a:r>
            <a:endParaRPr lang="it-IT" sz="1600" b="1" dirty="0">
              <a:latin typeface="Inter" panose="02000503000000020004" pitchFamily="2" charset="0"/>
              <a:ea typeface="Inter" panose="02000503000000020004" pitchFamily="2" charset="0"/>
              <a:cs typeface="Quire Sans" panose="020B05020404000200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C8EF5F5-5E58-4C78-85B8-E29D1E327D2A}"/>
              </a:ext>
            </a:extLst>
          </p:cNvPr>
          <p:cNvSpPr txBox="1"/>
          <p:nvPr/>
        </p:nvSpPr>
        <p:spPr>
          <a:xfrm>
            <a:off x="3921551" y="2644170"/>
            <a:ext cx="434889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4000" b="1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~15% </a:t>
            </a:r>
          </a:p>
          <a:p>
            <a:pPr algn="ctr"/>
            <a:r>
              <a:rPr lang="it-IT" sz="1600" b="1" dirty="0" err="1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Average</a:t>
            </a:r>
            <a:r>
              <a:rPr lang="it-IT" sz="1600" b="1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</a:t>
            </a:r>
            <a:r>
              <a:rPr lang="it-IT" sz="1600" b="1" dirty="0" err="1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annualized</a:t>
            </a:r>
            <a:r>
              <a:rPr lang="it-IT" sz="1600" b="1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ROI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E1010A8-CD26-45C9-AA9D-19458DF52027}"/>
              </a:ext>
            </a:extLst>
          </p:cNvPr>
          <p:cNvSpPr txBox="1"/>
          <p:nvPr/>
        </p:nvSpPr>
        <p:spPr>
          <a:xfrm>
            <a:off x="7843102" y="2644170"/>
            <a:ext cx="43488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4000" b="1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3%</a:t>
            </a:r>
          </a:p>
          <a:p>
            <a:pPr algn="ctr"/>
            <a:r>
              <a:rPr lang="it-IT" sz="1600" b="1" dirty="0" err="1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Our</a:t>
            </a:r>
            <a:r>
              <a:rPr lang="it-IT" sz="1600" b="1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</a:t>
            </a:r>
            <a:r>
              <a:rPr lang="it-IT" sz="1600" b="1" dirty="0" err="1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fee</a:t>
            </a:r>
            <a:r>
              <a:rPr lang="it-IT" sz="1600" b="1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on </a:t>
            </a:r>
            <a:r>
              <a:rPr lang="it-IT" sz="1600" b="1" dirty="0" err="1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invested</a:t>
            </a:r>
            <a:r>
              <a:rPr lang="it-IT" sz="1600" b="1" dirty="0">
                <a:latin typeface="Inter" panose="02000503000000020004" pitchFamily="2" charset="0"/>
                <a:ea typeface="Inter" panose="02000503000000020004" pitchFamily="2" charset="0"/>
                <a:cs typeface="Quire Sans" panose="020B0502040400020003" pitchFamily="34" charset="0"/>
              </a:rPr>
              <a:t> capital</a:t>
            </a:r>
          </a:p>
          <a:p>
            <a:pPr algn="ctr"/>
            <a:endParaRPr lang="it-IT" sz="1600" b="1" dirty="0">
              <a:latin typeface="Inter" panose="02000503000000020004" pitchFamily="2" charset="0"/>
              <a:ea typeface="Inter" panose="02000503000000020004" pitchFamily="2" charset="0"/>
              <a:cs typeface="Quire Sans" panose="020B0502040400020003" pitchFamily="34" charset="0"/>
            </a:endParaRPr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2" name="3D Model 1" descr="?">
                <a:extLst>
                  <a:ext uri="{FF2B5EF4-FFF2-40B4-BE49-F238E27FC236}">
                    <a16:creationId xmlns:a16="http://schemas.microsoft.com/office/drawing/2014/main" id="{8DC3A195-C411-4681-ABCC-DA3EF8131AA0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3366818381"/>
                  </p:ext>
                </p:extLst>
              </p:nvPr>
            </p:nvGraphicFramePr>
            <p:xfrm>
              <a:off x="2353801" y="3844499"/>
              <a:ext cx="3990193" cy="2466492"/>
            </p:xfrm>
            <a:graphic>
              <a:graphicData uri="http://schemas.microsoft.com/office/drawing/2017/model3d">
                <am3d:model3d r:embed="rId6">
                  <am3d:spPr>
                    <a:xfrm>
                      <a:off x="0" y="0"/>
                      <a:ext cx="3990193" cy="2466492"/>
                    </a:xfrm>
                    <a:prstGeom prst="rect">
                      <a:avLst/>
                    </a:prstGeom>
                  </am3d:spPr>
                  <am3d:camera>
                    <am3d:pos x="-4819900" y="-2530519" z="56908879"/>
                    <am3d:up dx="0" dy="36000000" dz="0"/>
                    <am3d:lookAt x="-4819900" y="-2530519" z="0"/>
                    <am3d:perspective fov="1281289"/>
                  </am3d:camera>
                  <am3d:trans>
                    <am3d:meterPerModelUnit n="3882297" d="1000000"/>
                    <am3d:preTrans dx="3552437" dy="-17085655" dz="2395114"/>
                    <am3d:scale>
                      <am3d:sx n="1000000" d="1000000"/>
                      <am3d:sy n="1000000" d="1000000"/>
                      <am3d:sz n="1000000" d="1000000"/>
                    </am3d:scale>
                    <am3d:rot ax="-4194056" ay="-29922" az="81753"/>
                    <am3d:postTrans dx="-4819900" dy="-2530519" dz="0"/>
                  </am3d:trans>
                  <am3d:raster rName="Office3DRenderer" rVer="16.0.8326">
                    <am3d:blip r:embed="rId7"/>
                  </am3d:raster>
                  <am3d:winViewport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2" name="3D Model 1" descr="?">
                <a:extLst>
                  <a:ext uri="{FF2B5EF4-FFF2-40B4-BE49-F238E27FC236}">
                    <a16:creationId xmlns:a16="http://schemas.microsoft.com/office/drawing/2014/main" id="{8DC3A195-C411-4681-ABCC-DA3EF8131AA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353801" y="3844499"/>
                <a:ext cx="3990193" cy="2466492"/>
              </a:xfrm>
              <a:prstGeom prst="rect">
                <a:avLst/>
              </a:prstGeom>
            </p:spPr>
          </p:pic>
        </mc:Fallback>
      </mc:AlternateContent>
      <p:sp>
        <p:nvSpPr>
          <p:cNvPr id="3" name="Rectangle 2">
            <a:extLst>
              <a:ext uri="{FF2B5EF4-FFF2-40B4-BE49-F238E27FC236}">
                <a16:creationId xmlns:a16="http://schemas.microsoft.com/office/drawing/2014/main" id="{EF2BFC43-1602-4150-9A4A-F79DE9CF025D}"/>
              </a:ext>
            </a:extLst>
          </p:cNvPr>
          <p:cNvSpPr/>
          <p:nvPr/>
        </p:nvSpPr>
        <p:spPr>
          <a:xfrm>
            <a:off x="7428322" y="4138367"/>
            <a:ext cx="3073138" cy="190421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Una cosa così ma con il «?» al posto di questa lettera</a:t>
            </a:r>
          </a:p>
        </p:txBody>
      </p:sp>
    </p:spTree>
    <p:extLst>
      <p:ext uri="{BB962C8B-B14F-4D97-AF65-F5344CB8AC3E}">
        <p14:creationId xmlns:p14="http://schemas.microsoft.com/office/powerpoint/2010/main" val="42628412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BB466E-31F0-4F06-B874-1C7B729BC6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BB466E-31F0-4F06-B874-1C7B729BC6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B5356F45-3B6A-4C01-B098-687217640885}"/>
              </a:ext>
            </a:extLst>
          </p:cNvPr>
          <p:cNvSpPr/>
          <p:nvPr/>
        </p:nvSpPr>
        <p:spPr>
          <a:xfrm>
            <a:off x="0" y="-19594"/>
            <a:ext cx="12192000" cy="764771"/>
          </a:xfrm>
          <a:prstGeom prst="rect">
            <a:avLst/>
          </a:prstGeom>
          <a:solidFill>
            <a:srgbClr val="223A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5FA16E-9196-4C66-B602-E8DAD1AE22D7}"/>
              </a:ext>
            </a:extLst>
          </p:cNvPr>
          <p:cNvSpPr/>
          <p:nvPr/>
        </p:nvSpPr>
        <p:spPr>
          <a:xfrm>
            <a:off x="0" y="0"/>
            <a:ext cx="1489435" cy="76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err="1">
                <a:latin typeface="Inter" panose="02000503000000020004" pitchFamily="2" charset="0"/>
                <a:ea typeface="Inter" panose="02000503000000020004" pitchFamily="2" charset="0"/>
              </a:rPr>
              <a:t>AstaCert</a:t>
            </a:r>
            <a:endParaRPr lang="it-IT" dirty="0"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14A1F4F-C58D-4A2E-982D-E0FE0E9E8447}"/>
              </a:ext>
            </a:extLst>
          </p:cNvPr>
          <p:cNvSpPr/>
          <p:nvPr/>
        </p:nvSpPr>
        <p:spPr>
          <a:xfrm>
            <a:off x="10702565" y="-740"/>
            <a:ext cx="1489435" cy="76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latin typeface="Inter" panose="02000503000000020004" pitchFamily="2" charset="0"/>
                <a:ea typeface="Inter" panose="02000503000000020004" pitchFamily="2" charset="0"/>
              </a:rPr>
              <a:t>Contac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8B14458-C0F1-4E24-816C-69BD2020C8E7}"/>
              </a:ext>
            </a:extLst>
          </p:cNvPr>
          <p:cNvSpPr/>
          <p:nvPr/>
        </p:nvSpPr>
        <p:spPr>
          <a:xfrm>
            <a:off x="9213130" y="-18854"/>
            <a:ext cx="1489435" cy="76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latin typeface="Inter" panose="02000503000000020004" pitchFamily="2" charset="0"/>
                <a:ea typeface="Inter" panose="02000503000000020004" pitchFamily="2" charset="0"/>
              </a:rPr>
              <a:t>Abou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78CA694-63E0-469D-9D26-3D175E6F1A4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1426" r="52105"/>
          <a:stretch/>
        </p:blipFill>
        <p:spPr>
          <a:xfrm>
            <a:off x="2431619" y="745177"/>
            <a:ext cx="5839326" cy="6074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0200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6</TotalTime>
  <Words>484</Words>
  <Application>Microsoft Office PowerPoint</Application>
  <PresentationFormat>Widescreen</PresentationFormat>
  <Paragraphs>113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Calibri</vt:lpstr>
      <vt:lpstr>Calibri Light</vt:lpstr>
      <vt:lpstr>Inter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ttore Minelli</dc:creator>
  <cp:lastModifiedBy>Ettore Minelli</cp:lastModifiedBy>
  <cp:revision>1</cp:revision>
  <dcterms:created xsi:type="dcterms:W3CDTF">2022-11-21T08:10:42Z</dcterms:created>
  <dcterms:modified xsi:type="dcterms:W3CDTF">2022-11-26T14:14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ppReportDate">
    <vt:lpwstr/>
  </property>
  <property fmtid="{D5CDD505-2E9C-101B-9397-08002B2CF9AE}" pid="3" name="WppReportVersion">
    <vt:lpwstr>Version 1.0</vt:lpwstr>
  </property>
  <property fmtid="{D5CDD505-2E9C-101B-9397-08002B2CF9AE}" pid="4" name="WppReportDraft">
    <vt:lpwstr>(Draft)</vt:lpwstr>
  </property>
  <property fmtid="{D5CDD505-2E9C-101B-9397-08002B2CF9AE}" pid="5" name="WppReportCurrencySymbol">
    <vt:lpwstr>€</vt:lpwstr>
  </property>
  <property fmtid="{D5CDD505-2E9C-101B-9397-08002B2CF9AE}" pid="6" name="WppReportDashboardTitleText">
    <vt:lpwstr>Dashboard</vt:lpwstr>
  </property>
  <property fmtid="{D5CDD505-2E9C-101B-9397-08002B2CF9AE}" pid="7" name="WppReportShortPageNumberFormat">
    <vt:lpwstr>Page &lt;#&gt;</vt:lpwstr>
  </property>
  <property fmtid="{D5CDD505-2E9C-101B-9397-08002B2CF9AE}" pid="8" name="WppReportLongPageNumberFormat">
    <vt:lpwstr>Page &lt;#&gt; of &lt;PageCount&gt;</vt:lpwstr>
  </property>
  <property fmtid="{D5CDD505-2E9C-101B-9397-08002B2CF9AE}" pid="9" name="WppReportTocTitleText">
    <vt:lpwstr>Table of contents</vt:lpwstr>
  </property>
  <property fmtid="{D5CDD505-2E9C-101B-9397-08002B2CF9AE}" pid="10" name="WppReportIsTocUpdateRecommended">
    <vt:bool>true</vt:bool>
  </property>
  <property fmtid="{D5CDD505-2E9C-101B-9397-08002B2CF9AE}" pid="11" name="WppReportPropertiesLastWrittenToDocument">
    <vt:filetime>2022-11-26T13:14:02Z</vt:filetime>
  </property>
</Properties>
</file>